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5"/>
  </p:sldMasterIdLst>
  <p:notesMasterIdLst>
    <p:notesMasterId r:id="rId22"/>
  </p:notesMasterIdLst>
  <p:handoutMasterIdLst>
    <p:handoutMasterId r:id="rId23"/>
  </p:handoutMasterIdLst>
  <p:sldIdLst>
    <p:sldId id="2134804235" r:id="rId6"/>
    <p:sldId id="805" r:id="rId7"/>
    <p:sldId id="802" r:id="rId8"/>
    <p:sldId id="595" r:id="rId9"/>
    <p:sldId id="410" r:id="rId10"/>
    <p:sldId id="798" r:id="rId11"/>
    <p:sldId id="799" r:id="rId12"/>
    <p:sldId id="801" r:id="rId13"/>
    <p:sldId id="803" r:id="rId14"/>
    <p:sldId id="350" r:id="rId15"/>
    <p:sldId id="806" r:id="rId16"/>
    <p:sldId id="1166" r:id="rId17"/>
    <p:sldId id="1167" r:id="rId18"/>
    <p:sldId id="2147473738" r:id="rId19"/>
    <p:sldId id="796" r:id="rId20"/>
    <p:sldId id="387" r:id="rId21"/>
  </p:sldIdLst>
  <p:sldSz cx="12192000" cy="6858000"/>
  <p:notesSz cx="7315200" cy="9601200"/>
  <p:custDataLst>
    <p:tags r:id="rId24"/>
  </p:custDataLst>
  <p:defaultTextStyle>
    <a:defPPr>
      <a:defRPr lang="de-DE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97A"/>
    <a:srgbClr val="00C696"/>
    <a:srgbClr val="00DFA9"/>
    <a:srgbClr val="97FFD8"/>
    <a:srgbClr val="64645F"/>
    <a:srgbClr val="9C9A94"/>
    <a:srgbClr val="DFDBD3"/>
    <a:srgbClr val="FAF9F5"/>
    <a:srgbClr val="711E82"/>
    <a:srgbClr val="9E2A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4DBAA971-FDCE-CA42-DCA3-1F1E75341A85}" styleName="B. Braun"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mpd="sng">
              <a:solidFill>
                <a:srgbClr val="000000"/>
              </a:solidFill>
            </a:ln>
          </a:bottom>
          <a:insideH>
            <a:ln w="9525" cmpd="sng">
              <a:solidFill>
                <a:srgbClr val="000000"/>
              </a:solidFill>
            </a:ln>
          </a:insideH>
          <a:insideV>
            <a:ln>
              <a:noFill/>
            </a:ln>
          </a:insideV>
        </a:tcBdr>
      </a:tcStyle>
    </a:wholeTbl>
    <a:firstRow>
      <a:tcStyle>
        <a:tcBdr>
          <a:bottom>
            <a:ln w="15875" cmpd="sng">
              <a:solidFill>
                <a:srgbClr val="000000"/>
              </a:solidFill>
            </a:ln>
          </a:bottom>
        </a:tcBdr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471" autoAdjust="0"/>
  </p:normalViewPr>
  <p:slideViewPr>
    <p:cSldViewPr>
      <p:cViewPr varScale="1">
        <p:scale>
          <a:sx n="75" d="100"/>
          <a:sy n="75" d="100"/>
        </p:scale>
        <p:origin x="90" y="15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6" d="100"/>
          <a:sy n="86" d="100"/>
        </p:scale>
        <p:origin x="-3750" y="-84"/>
      </p:cViewPr>
      <p:guideLst>
        <p:guide orient="horz" pos="3024"/>
        <p:guide pos="230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tja Friedrich" userId="d0b1f02c-7dc9-4ea6-88b0-5d71209aff41" providerId="ADAL" clId="{449736E3-72D8-4BC1-8C36-21DE1C75C9E4}"/>
    <pc:docChg chg="custSel modSld modMainMaster replTag delTag modNotesMaster modHandout">
      <pc:chgData name="Katja Friedrich" userId="d0b1f02c-7dc9-4ea6-88b0-5d71209aff41" providerId="ADAL" clId="{449736E3-72D8-4BC1-8C36-21DE1C75C9E4}" dt="2023-09-22T07:53:03.631" v="82"/>
      <pc:docMkLst>
        <pc:docMk/>
      </pc:docMkLst>
      <pc:sldChg chg="modNotes">
        <pc:chgData name="Katja Friedrich" userId="d0b1f02c-7dc9-4ea6-88b0-5d71209aff41" providerId="ADAL" clId="{449736E3-72D8-4BC1-8C36-21DE1C75C9E4}" dt="2023-09-22T07:49:49.188" v="2"/>
        <pc:sldMkLst>
          <pc:docMk/>
          <pc:sldMk cId="2701466617" sldId="350"/>
        </pc:sldMkLst>
      </pc:sldChg>
      <pc:sldChg chg="modSp mod modNotes">
        <pc:chgData name="Katja Friedrich" userId="d0b1f02c-7dc9-4ea6-88b0-5d71209aff41" providerId="ADAL" clId="{449736E3-72D8-4BC1-8C36-21DE1C75C9E4}" dt="2023-09-22T07:49:49.188" v="2"/>
        <pc:sldMkLst>
          <pc:docMk/>
          <pc:sldMk cId="1225158123" sldId="387"/>
        </pc:sldMkLst>
        <pc:spChg chg="mod">
          <ac:chgData name="Katja Friedrich" userId="d0b1f02c-7dc9-4ea6-88b0-5d71209aff41" providerId="ADAL" clId="{449736E3-72D8-4BC1-8C36-21DE1C75C9E4}" dt="2023-09-22T07:49:36.518" v="1" actId="108"/>
          <ac:spMkLst>
            <pc:docMk/>
            <pc:sldMk cId="1225158123" sldId="387"/>
            <ac:spMk id="17" creationId="{00000000-0000-0000-0000-000000000000}"/>
          </ac:spMkLst>
        </pc:spChg>
      </pc:sldChg>
      <pc:sldChg chg="modNotes">
        <pc:chgData name="Katja Friedrich" userId="d0b1f02c-7dc9-4ea6-88b0-5d71209aff41" providerId="ADAL" clId="{449736E3-72D8-4BC1-8C36-21DE1C75C9E4}" dt="2023-09-22T07:49:49.188" v="2"/>
        <pc:sldMkLst>
          <pc:docMk/>
          <pc:sldMk cId="4182424454" sldId="805"/>
        </pc:sldMkLst>
      </pc:sldChg>
      <pc:sldChg chg="modNotes">
        <pc:chgData name="Katja Friedrich" userId="d0b1f02c-7dc9-4ea6-88b0-5d71209aff41" providerId="ADAL" clId="{449736E3-72D8-4BC1-8C36-21DE1C75C9E4}" dt="2023-09-22T07:49:49.188" v="2"/>
        <pc:sldMkLst>
          <pc:docMk/>
          <pc:sldMk cId="2176123133" sldId="806"/>
        </pc:sldMkLst>
      </pc:sldChg>
      <pc:sldChg chg="modNotes">
        <pc:chgData name="Katja Friedrich" userId="d0b1f02c-7dc9-4ea6-88b0-5d71209aff41" providerId="ADAL" clId="{449736E3-72D8-4BC1-8C36-21DE1C75C9E4}" dt="2023-09-22T07:49:49.188" v="2"/>
        <pc:sldMkLst>
          <pc:docMk/>
          <pc:sldMk cId="3508368566" sldId="1166"/>
        </pc:sldMkLst>
      </pc:sldChg>
      <pc:sldChg chg="modNotes">
        <pc:chgData name="Katja Friedrich" userId="d0b1f02c-7dc9-4ea6-88b0-5d71209aff41" providerId="ADAL" clId="{449736E3-72D8-4BC1-8C36-21DE1C75C9E4}" dt="2023-09-22T07:49:49.188" v="2"/>
        <pc:sldMkLst>
          <pc:docMk/>
          <pc:sldMk cId="3123653849" sldId="1167"/>
        </pc:sldMkLst>
      </pc:sldChg>
      <pc:sldChg chg="modNotes">
        <pc:chgData name="Katja Friedrich" userId="d0b1f02c-7dc9-4ea6-88b0-5d71209aff41" providerId="ADAL" clId="{449736E3-72D8-4BC1-8C36-21DE1C75C9E4}" dt="2023-09-22T07:49:49.188" v="2"/>
        <pc:sldMkLst>
          <pc:docMk/>
          <pc:sldMk cId="1493477081" sldId="2134804235"/>
        </pc:sldMkLst>
      </pc:sldChg>
      <pc:sldMasterChg chg="modSp modSldLayout">
        <pc:chgData name="Katja Friedrich" userId="d0b1f02c-7dc9-4ea6-88b0-5d71209aff41" providerId="ADAL" clId="{449736E3-72D8-4BC1-8C36-21DE1C75C9E4}" dt="2023-09-22T07:53:03.630" v="80" actId="20577"/>
        <pc:sldMasterMkLst>
          <pc:docMk/>
          <pc:sldMasterMk cId="1856203500" sldId="2147483675"/>
        </pc:sldMasterMkLst>
        <pc:spChg chg="mod">
          <ac:chgData name="Katja Friedrich" userId="d0b1f02c-7dc9-4ea6-88b0-5d71209aff41" providerId="ADAL" clId="{449736E3-72D8-4BC1-8C36-21DE1C75C9E4}" dt="2023-09-22T07:53:03.606" v="72"/>
          <ac:spMkLst>
            <pc:docMk/>
            <pc:sldMasterMk cId="1856203500" sldId="2147483675"/>
            <ac:spMk id="8" creationId="{94EE9C7D-69F0-0B53-6C96-895EC6C1CB6D}"/>
          </ac:spMkLst>
        </pc:spChg>
        <pc:sldLayoutChg chg="modSp mod">
          <pc:chgData name="Katja Friedrich" userId="d0b1f02c-7dc9-4ea6-88b0-5d71209aff41" providerId="ADAL" clId="{449736E3-72D8-4BC1-8C36-21DE1C75C9E4}" dt="2023-09-22T07:53:03.612" v="74" actId="20577"/>
          <pc:sldLayoutMkLst>
            <pc:docMk/>
            <pc:sldMasterMk cId="1856203500" sldId="2147483675"/>
            <pc:sldLayoutMk cId="202869720" sldId="2147483681"/>
          </pc:sldLayoutMkLst>
          <pc:spChg chg="mod">
            <ac:chgData name="Katja Friedrich" userId="d0b1f02c-7dc9-4ea6-88b0-5d71209aff41" providerId="ADAL" clId="{449736E3-72D8-4BC1-8C36-21DE1C75C9E4}" dt="2023-09-22T07:53:03.612" v="74" actId="20577"/>
            <ac:spMkLst>
              <pc:docMk/>
              <pc:sldMasterMk cId="1856203500" sldId="2147483675"/>
              <pc:sldLayoutMk cId="202869720" sldId="2147483681"/>
              <ac:spMk id="4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449736E3-72D8-4BC1-8C36-21DE1C75C9E4}" dt="2023-09-22T07:53:03.615" v="75" actId="20577"/>
          <pc:sldLayoutMkLst>
            <pc:docMk/>
            <pc:sldMasterMk cId="1856203500" sldId="2147483675"/>
            <pc:sldLayoutMk cId="1093794100" sldId="2147483683"/>
          </pc:sldLayoutMkLst>
          <pc:spChg chg="mod">
            <ac:chgData name="Katja Friedrich" userId="d0b1f02c-7dc9-4ea6-88b0-5d71209aff41" providerId="ADAL" clId="{449736E3-72D8-4BC1-8C36-21DE1C75C9E4}" dt="2023-09-22T07:53:03.615" v="75" actId="20577"/>
            <ac:spMkLst>
              <pc:docMk/>
              <pc:sldMasterMk cId="1856203500" sldId="2147483675"/>
              <pc:sldLayoutMk cId="1093794100" sldId="2147483683"/>
              <ac:spMk id="6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449736E3-72D8-4BC1-8C36-21DE1C75C9E4}" dt="2023-09-22T07:53:03.617" v="76" actId="20577"/>
          <pc:sldLayoutMkLst>
            <pc:docMk/>
            <pc:sldMasterMk cId="1856203500" sldId="2147483675"/>
            <pc:sldLayoutMk cId="1881227956" sldId="2147483685"/>
          </pc:sldLayoutMkLst>
          <pc:spChg chg="mod">
            <ac:chgData name="Katja Friedrich" userId="d0b1f02c-7dc9-4ea6-88b0-5d71209aff41" providerId="ADAL" clId="{449736E3-72D8-4BC1-8C36-21DE1C75C9E4}" dt="2023-09-22T07:53:03.617" v="76" actId="20577"/>
            <ac:spMkLst>
              <pc:docMk/>
              <pc:sldMasterMk cId="1856203500" sldId="2147483675"/>
              <pc:sldLayoutMk cId="1881227956" sldId="2147483685"/>
              <ac:spMk id="4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449736E3-72D8-4BC1-8C36-21DE1C75C9E4}" dt="2023-09-22T07:53:03.620" v="77" actId="20577"/>
          <pc:sldLayoutMkLst>
            <pc:docMk/>
            <pc:sldMasterMk cId="1856203500" sldId="2147483675"/>
            <pc:sldLayoutMk cId="3582499438" sldId="2147483686"/>
          </pc:sldLayoutMkLst>
          <pc:spChg chg="mod">
            <ac:chgData name="Katja Friedrich" userId="d0b1f02c-7dc9-4ea6-88b0-5d71209aff41" providerId="ADAL" clId="{449736E3-72D8-4BC1-8C36-21DE1C75C9E4}" dt="2023-09-22T07:53:03.620" v="77" actId="20577"/>
            <ac:spMkLst>
              <pc:docMk/>
              <pc:sldMasterMk cId="1856203500" sldId="2147483675"/>
              <pc:sldLayoutMk cId="3582499438" sldId="2147483686"/>
              <ac:spMk id="3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449736E3-72D8-4BC1-8C36-21DE1C75C9E4}" dt="2023-09-22T07:53:03.609" v="73" actId="20577"/>
          <pc:sldLayoutMkLst>
            <pc:docMk/>
            <pc:sldMasterMk cId="1856203500" sldId="2147483675"/>
            <pc:sldLayoutMk cId="202869720" sldId="2147483698"/>
          </pc:sldLayoutMkLst>
          <pc:spChg chg="mod">
            <ac:chgData name="Katja Friedrich" userId="d0b1f02c-7dc9-4ea6-88b0-5d71209aff41" providerId="ADAL" clId="{449736E3-72D8-4BC1-8C36-21DE1C75C9E4}" dt="2023-09-22T07:53:03.609" v="73" actId="20577"/>
            <ac:spMkLst>
              <pc:docMk/>
              <pc:sldMasterMk cId="1856203500" sldId="2147483675"/>
              <pc:sldLayoutMk cId="202869720" sldId="2147483698"/>
              <ac:spMk id="4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449736E3-72D8-4BC1-8C36-21DE1C75C9E4}" dt="2023-09-22T07:53:03.623" v="78" actId="20577"/>
          <pc:sldLayoutMkLst>
            <pc:docMk/>
            <pc:sldMasterMk cId="1856203500" sldId="2147483675"/>
            <pc:sldLayoutMk cId="4125311112" sldId="2147483709"/>
          </pc:sldLayoutMkLst>
          <pc:spChg chg="mod">
            <ac:chgData name="Katja Friedrich" userId="d0b1f02c-7dc9-4ea6-88b0-5d71209aff41" providerId="ADAL" clId="{449736E3-72D8-4BC1-8C36-21DE1C75C9E4}" dt="2023-09-22T07:53:03.623" v="78" actId="20577"/>
            <ac:spMkLst>
              <pc:docMk/>
              <pc:sldMasterMk cId="1856203500" sldId="2147483675"/>
              <pc:sldLayoutMk cId="4125311112" sldId="2147483709"/>
              <ac:spMk id="4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449736E3-72D8-4BC1-8C36-21DE1C75C9E4}" dt="2023-09-22T07:53:03.627" v="79" actId="20577"/>
          <pc:sldLayoutMkLst>
            <pc:docMk/>
            <pc:sldMasterMk cId="1856203500" sldId="2147483675"/>
            <pc:sldLayoutMk cId="1387470962" sldId="2147483718"/>
          </pc:sldLayoutMkLst>
          <pc:spChg chg="mod">
            <ac:chgData name="Katja Friedrich" userId="d0b1f02c-7dc9-4ea6-88b0-5d71209aff41" providerId="ADAL" clId="{449736E3-72D8-4BC1-8C36-21DE1C75C9E4}" dt="2023-09-22T07:53:03.627" v="79" actId="20577"/>
            <ac:spMkLst>
              <pc:docMk/>
              <pc:sldMasterMk cId="1856203500" sldId="2147483675"/>
              <pc:sldLayoutMk cId="1387470962" sldId="2147483718"/>
              <ac:spMk id="4" creationId="{00000000-0000-0000-0000-000000000000}"/>
            </ac:spMkLst>
          </pc:spChg>
        </pc:sldLayoutChg>
        <pc:sldLayoutChg chg="modSp mod">
          <pc:chgData name="Katja Friedrich" userId="d0b1f02c-7dc9-4ea6-88b0-5d71209aff41" providerId="ADAL" clId="{449736E3-72D8-4BC1-8C36-21DE1C75C9E4}" dt="2023-09-22T07:53:03.630" v="80" actId="20577"/>
          <pc:sldLayoutMkLst>
            <pc:docMk/>
            <pc:sldMasterMk cId="1856203500" sldId="2147483675"/>
            <pc:sldLayoutMk cId="740134760" sldId="2147483719"/>
          </pc:sldLayoutMkLst>
          <pc:spChg chg="mod">
            <ac:chgData name="Katja Friedrich" userId="d0b1f02c-7dc9-4ea6-88b0-5d71209aff41" providerId="ADAL" clId="{449736E3-72D8-4BC1-8C36-21DE1C75C9E4}" dt="2023-09-22T07:53:03.630" v="80" actId="20577"/>
            <ac:spMkLst>
              <pc:docMk/>
              <pc:sldMasterMk cId="1856203500" sldId="2147483675"/>
              <pc:sldLayoutMk cId="740134760" sldId="2147483719"/>
              <ac:spMk id="5" creationId="{00000000-0000-0000-0000-000000000000}"/>
            </ac:spMkLst>
          </pc:spChg>
        </pc:sldLayoutChg>
      </pc:sldMasterChg>
    </pc:docChg>
  </pc:docChgLst>
  <pc:docChgLst>
    <pc:chgData name="Malte Wangerin" userId="62402425-2f57-4945-9295-3c6b16e42f98" providerId="ADAL" clId="{56BC4540-4D6B-4DAA-9805-5130E28481A3}"/>
    <pc:docChg chg="undo custSel addSld delSld modSld sldOrd modMainMaster replTag delTag">
      <pc:chgData name="Malte Wangerin" userId="62402425-2f57-4945-9295-3c6b16e42f98" providerId="ADAL" clId="{56BC4540-4D6B-4DAA-9805-5130E28481A3}" dt="2023-09-11T09:32:31.680" v="339" actId="47"/>
      <pc:docMkLst>
        <pc:docMk/>
      </pc:docMkLst>
      <pc:sldChg chg="del">
        <pc:chgData name="Malte Wangerin" userId="62402425-2f57-4945-9295-3c6b16e42f98" providerId="ADAL" clId="{56BC4540-4D6B-4DAA-9805-5130E28481A3}" dt="2023-08-30T13:44:47.083" v="50" actId="47"/>
        <pc:sldMkLst>
          <pc:docMk/>
          <pc:sldMk cId="2981834393" sldId="256"/>
        </pc:sldMkLst>
      </pc:sldChg>
      <pc:sldChg chg="del">
        <pc:chgData name="Malte Wangerin" userId="62402425-2f57-4945-9295-3c6b16e42f98" providerId="ADAL" clId="{56BC4540-4D6B-4DAA-9805-5130E28481A3}" dt="2023-08-30T13:57:50.467" v="264" actId="47"/>
        <pc:sldMkLst>
          <pc:docMk/>
          <pc:sldMk cId="1869730894" sldId="299"/>
        </pc:sldMkLst>
      </pc:sldChg>
      <pc:sldChg chg="addSp modSp del mod modClrScheme chgLayout">
        <pc:chgData name="Malte Wangerin" userId="62402425-2f57-4945-9295-3c6b16e42f98" providerId="ADAL" clId="{56BC4540-4D6B-4DAA-9805-5130E28481A3}" dt="2023-08-30T13:45:47.713" v="100" actId="47"/>
        <pc:sldMkLst>
          <pc:docMk/>
          <pc:sldMk cId="125681914" sldId="370"/>
        </pc:sldMkLst>
        <pc:spChg chg="add mod ord">
          <ac:chgData name="Malte Wangerin" userId="62402425-2f57-4945-9295-3c6b16e42f98" providerId="ADAL" clId="{56BC4540-4D6B-4DAA-9805-5130E28481A3}" dt="2023-08-30T13:45:32.872" v="99" actId="14100"/>
          <ac:spMkLst>
            <pc:docMk/>
            <pc:sldMk cId="125681914" sldId="370"/>
            <ac:spMk id="2" creationId="{EAA289E8-22DC-7420-3F3B-64B3987D4048}"/>
          </ac:spMkLst>
        </pc:spChg>
        <pc:spChg chg="add mod ord">
          <ac:chgData name="Malte Wangerin" userId="62402425-2f57-4945-9295-3c6b16e42f98" providerId="ADAL" clId="{56BC4540-4D6B-4DAA-9805-5130E28481A3}" dt="2023-08-30T13:45:06.655" v="91" actId="700"/>
          <ac:spMkLst>
            <pc:docMk/>
            <pc:sldMk cId="125681914" sldId="370"/>
            <ac:spMk id="3" creationId="{E362D953-0AB6-B5E6-31A8-14E427385A52}"/>
          </ac:spMkLst>
        </pc:spChg>
        <pc:spChg chg="mod ord">
          <ac:chgData name="Malte Wangerin" userId="62402425-2f57-4945-9295-3c6b16e42f98" providerId="ADAL" clId="{56BC4540-4D6B-4DAA-9805-5130E28481A3}" dt="2023-08-30T13:45:06.655" v="91" actId="700"/>
          <ac:spMkLst>
            <pc:docMk/>
            <pc:sldMk cId="125681914" sldId="370"/>
            <ac:spMk id="5" creationId="{00000000-0000-0000-0000-000000000000}"/>
          </ac:spMkLst>
        </pc:spChg>
        <pc:spChg chg="add mod ord">
          <ac:chgData name="Malte Wangerin" userId="62402425-2f57-4945-9295-3c6b16e42f98" providerId="ADAL" clId="{56BC4540-4D6B-4DAA-9805-5130E28481A3}" dt="2023-08-30T13:45:06.655" v="91" actId="700"/>
          <ac:spMkLst>
            <pc:docMk/>
            <pc:sldMk cId="125681914" sldId="370"/>
            <ac:spMk id="8" creationId="{63D0828D-89E6-AC0C-402C-9883A35A5993}"/>
          </ac:spMkLst>
        </pc:spChg>
      </pc:sldChg>
      <pc:sldChg chg="add">
        <pc:chgData name="Malte Wangerin" userId="62402425-2f57-4945-9295-3c6b16e42f98" providerId="ADAL" clId="{56BC4540-4D6B-4DAA-9805-5130E28481A3}" dt="2023-09-11T09:31:40.411" v="266"/>
        <pc:sldMkLst>
          <pc:docMk/>
          <pc:sldMk cId="1225158123" sldId="387"/>
        </pc:sldMkLst>
      </pc:sldChg>
      <pc:sldChg chg="del">
        <pc:chgData name="Malte Wangerin" userId="62402425-2f57-4945-9295-3c6b16e42f98" providerId="ADAL" clId="{56BC4540-4D6B-4DAA-9805-5130E28481A3}" dt="2023-08-30T13:44:45.956" v="49" actId="47"/>
        <pc:sldMkLst>
          <pc:docMk/>
          <pc:sldMk cId="3128406786" sldId="778"/>
        </pc:sldMkLst>
      </pc:sldChg>
      <pc:sldChg chg="modSp mod ord">
        <pc:chgData name="Malte Wangerin" userId="62402425-2f57-4945-9295-3c6b16e42f98" providerId="ADAL" clId="{56BC4540-4D6B-4DAA-9805-5130E28481A3}" dt="2023-09-11T09:32:21.135" v="337" actId="20577"/>
        <pc:sldMkLst>
          <pc:docMk/>
          <pc:sldMk cId="3349339293" sldId="796"/>
        </pc:sldMkLst>
        <pc:spChg chg="mod">
          <ac:chgData name="Malte Wangerin" userId="62402425-2f57-4945-9295-3c6b16e42f98" providerId="ADAL" clId="{56BC4540-4D6B-4DAA-9805-5130E28481A3}" dt="2023-09-11T09:32:21.135" v="337" actId="20577"/>
          <ac:spMkLst>
            <pc:docMk/>
            <pc:sldMk cId="3349339293" sldId="796"/>
            <ac:spMk id="2" creationId="{E1BA6433-6F4D-45A3-BEBE-359F35F251F8}"/>
          </ac:spMkLst>
        </pc:spChg>
        <pc:spChg chg="mod">
          <ac:chgData name="Malte Wangerin" userId="62402425-2f57-4945-9295-3c6b16e42f98" providerId="ADAL" clId="{56BC4540-4D6B-4DAA-9805-5130E28481A3}" dt="2023-09-11T09:32:13.006" v="313" actId="11"/>
          <ac:spMkLst>
            <pc:docMk/>
            <pc:sldMk cId="3349339293" sldId="796"/>
            <ac:spMk id="6" creationId="{93442A8C-52B6-48B0-9ECA-0053913B5A0E}"/>
          </ac:spMkLst>
        </pc:spChg>
      </pc:sldChg>
      <pc:sldChg chg="addSp delSp modSp mod modClrScheme chgLayout">
        <pc:chgData name="Malte Wangerin" userId="62402425-2f57-4945-9295-3c6b16e42f98" providerId="ADAL" clId="{56BC4540-4D6B-4DAA-9805-5130E28481A3}" dt="2023-08-30T13:51:36.628" v="182" actId="1038"/>
        <pc:sldMkLst>
          <pc:docMk/>
          <pc:sldMk cId="4024978852" sldId="801"/>
        </pc:sldMkLst>
        <pc:spChg chg="del mod ord">
          <ac:chgData name="Malte Wangerin" userId="62402425-2f57-4945-9295-3c6b16e42f98" providerId="ADAL" clId="{56BC4540-4D6B-4DAA-9805-5130E28481A3}" dt="2023-08-30T13:49:33.478" v="163" actId="478"/>
          <ac:spMkLst>
            <pc:docMk/>
            <pc:sldMk cId="4024978852" sldId="801"/>
            <ac:spMk id="2" creationId="{23274EE5-158C-486B-AAA1-6A0F72F2072A}"/>
          </ac:spMkLst>
        </pc:spChg>
        <pc:spChg chg="mod ord">
          <ac:chgData name="Malte Wangerin" userId="62402425-2f57-4945-9295-3c6b16e42f98" providerId="ADAL" clId="{56BC4540-4D6B-4DAA-9805-5130E28481A3}" dt="2023-08-30T13:51:12.770" v="171" actId="21"/>
          <ac:spMkLst>
            <pc:docMk/>
            <pc:sldMk cId="4024978852" sldId="801"/>
            <ac:spMk id="3" creationId="{54288A9F-E906-40AA-AF78-838CFE692934}"/>
          </ac:spMkLst>
        </pc:spChg>
        <pc:spChg chg="add del mod ord">
          <ac:chgData name="Malte Wangerin" userId="62402425-2f57-4945-9295-3c6b16e42f98" providerId="ADAL" clId="{56BC4540-4D6B-4DAA-9805-5130E28481A3}" dt="2023-08-30T13:47:19.161" v="144" actId="700"/>
          <ac:spMkLst>
            <pc:docMk/>
            <pc:sldMk cId="4024978852" sldId="801"/>
            <ac:spMk id="4" creationId="{DBE5EE7E-2929-FF9E-86A8-58AB50111AAE}"/>
          </ac:spMkLst>
        </pc:spChg>
        <pc:spChg chg="add del mod ord">
          <ac:chgData name="Malte Wangerin" userId="62402425-2f57-4945-9295-3c6b16e42f98" providerId="ADAL" clId="{56BC4540-4D6B-4DAA-9805-5130E28481A3}" dt="2023-08-30T13:47:26.930" v="145" actId="700"/>
          <ac:spMkLst>
            <pc:docMk/>
            <pc:sldMk cId="4024978852" sldId="801"/>
            <ac:spMk id="6" creationId="{B018EC0C-9EF5-2316-D60B-B46CA415A578}"/>
          </ac:spMkLst>
        </pc:spChg>
        <pc:spChg chg="add del mod ord">
          <ac:chgData name="Malte Wangerin" userId="62402425-2f57-4945-9295-3c6b16e42f98" providerId="ADAL" clId="{56BC4540-4D6B-4DAA-9805-5130E28481A3}" dt="2023-08-30T13:47:33.072" v="146" actId="700"/>
          <ac:spMkLst>
            <pc:docMk/>
            <pc:sldMk cId="4024978852" sldId="801"/>
            <ac:spMk id="7" creationId="{34A48720-40A8-EF12-78C3-E1C86E97497C}"/>
          </ac:spMkLst>
        </pc:spChg>
        <pc:spChg chg="add del mod ord">
          <ac:chgData name="Malte Wangerin" userId="62402425-2f57-4945-9295-3c6b16e42f98" providerId="ADAL" clId="{56BC4540-4D6B-4DAA-9805-5130E28481A3}" dt="2023-08-30T13:50:11.975" v="165" actId="478"/>
          <ac:spMkLst>
            <pc:docMk/>
            <pc:sldMk cId="4024978852" sldId="801"/>
            <ac:spMk id="8" creationId="{510D5307-BFE1-0C25-EF15-67DCFA322B9E}"/>
          </ac:spMkLst>
        </pc:spChg>
        <pc:spChg chg="add del mod ord">
          <ac:chgData name="Malte Wangerin" userId="62402425-2f57-4945-9295-3c6b16e42f98" providerId="ADAL" clId="{56BC4540-4D6B-4DAA-9805-5130E28481A3}" dt="2023-08-30T13:50:30.249" v="167" actId="700"/>
          <ac:spMkLst>
            <pc:docMk/>
            <pc:sldMk cId="4024978852" sldId="801"/>
            <ac:spMk id="9" creationId="{D025176D-5771-F335-0C43-206C1E557057}"/>
          </ac:spMkLst>
        </pc:spChg>
        <pc:spChg chg="add mod ord">
          <ac:chgData name="Malte Wangerin" userId="62402425-2f57-4945-9295-3c6b16e42f98" providerId="ADAL" clId="{56BC4540-4D6B-4DAA-9805-5130E28481A3}" dt="2023-08-30T13:51:00.241" v="170"/>
          <ac:spMkLst>
            <pc:docMk/>
            <pc:sldMk cId="4024978852" sldId="801"/>
            <ac:spMk id="10" creationId="{CC681F5E-4F8C-E50E-4052-4B7EF876E22D}"/>
          </ac:spMkLst>
        </pc:spChg>
        <pc:spChg chg="add mod ord">
          <ac:chgData name="Malte Wangerin" userId="62402425-2f57-4945-9295-3c6b16e42f98" providerId="ADAL" clId="{56BC4540-4D6B-4DAA-9805-5130E28481A3}" dt="2023-08-30T13:51:26.762" v="173" actId="14100"/>
          <ac:spMkLst>
            <pc:docMk/>
            <pc:sldMk cId="4024978852" sldId="801"/>
            <ac:spMk id="11" creationId="{01DFEEB2-E9B9-4F69-50D8-4B485779A44D}"/>
          </ac:spMkLst>
        </pc:spChg>
        <pc:picChg chg="mod">
          <ac:chgData name="Malte Wangerin" userId="62402425-2f57-4945-9295-3c6b16e42f98" providerId="ADAL" clId="{56BC4540-4D6B-4DAA-9805-5130E28481A3}" dt="2023-08-30T13:51:36.628" v="182" actId="1038"/>
          <ac:picMkLst>
            <pc:docMk/>
            <pc:sldMk cId="4024978852" sldId="801"/>
            <ac:picMk id="5" creationId="{86EC5EC9-B5FE-48F5-9578-68BC5E1B8D0B}"/>
          </ac:picMkLst>
        </pc:picChg>
      </pc:sldChg>
      <pc:sldChg chg="addSp delSp modSp add del mod modClrScheme chgLayout">
        <pc:chgData name="Malte Wangerin" userId="62402425-2f57-4945-9295-3c6b16e42f98" providerId="ADAL" clId="{56BC4540-4D6B-4DAA-9805-5130E28481A3}" dt="2023-08-30T14:26:51.584" v="265" actId="47"/>
        <pc:sldMkLst>
          <pc:docMk/>
          <pc:sldMk cId="1438000875" sldId="804"/>
        </pc:sldMkLst>
        <pc:spChg chg="add del mod ord">
          <ac:chgData name="Malte Wangerin" userId="62402425-2f57-4945-9295-3c6b16e42f98" providerId="ADAL" clId="{56BC4540-4D6B-4DAA-9805-5130E28481A3}" dt="2023-08-30T13:44:17.349" v="42" actId="478"/>
          <ac:spMkLst>
            <pc:docMk/>
            <pc:sldMk cId="1438000875" sldId="804"/>
            <ac:spMk id="2" creationId="{288651E0-B9D4-3FEE-6E37-9660DD6BDBBD}"/>
          </ac:spMkLst>
        </pc:spChg>
        <pc:spChg chg="mod ord">
          <ac:chgData name="Malte Wangerin" userId="62402425-2f57-4945-9295-3c6b16e42f98" providerId="ADAL" clId="{56BC4540-4D6B-4DAA-9805-5130E28481A3}" dt="2023-08-30T13:43:59.150" v="41" actId="700"/>
          <ac:spMkLst>
            <pc:docMk/>
            <pc:sldMk cId="1438000875" sldId="804"/>
            <ac:spMk id="4" creationId="{00000000-0000-0000-0000-000000000000}"/>
          </ac:spMkLst>
        </pc:spChg>
        <pc:spChg chg="mod ord">
          <ac:chgData name="Malte Wangerin" userId="62402425-2f57-4945-9295-3c6b16e42f98" providerId="ADAL" clId="{56BC4540-4D6B-4DAA-9805-5130E28481A3}" dt="2023-08-30T13:43:59.150" v="41" actId="700"/>
          <ac:spMkLst>
            <pc:docMk/>
            <pc:sldMk cId="1438000875" sldId="804"/>
            <ac:spMk id="5" creationId="{00000000-0000-0000-0000-000000000000}"/>
          </ac:spMkLst>
        </pc:spChg>
        <pc:spChg chg="add del mod ord">
          <ac:chgData name="Malte Wangerin" userId="62402425-2f57-4945-9295-3c6b16e42f98" providerId="ADAL" clId="{56BC4540-4D6B-4DAA-9805-5130E28481A3}" dt="2023-08-30T13:44:31.036" v="48" actId="478"/>
          <ac:spMkLst>
            <pc:docMk/>
            <pc:sldMk cId="1438000875" sldId="804"/>
            <ac:spMk id="6" creationId="{48087DB0-9261-58DC-AEBE-55A36AFDE74A}"/>
          </ac:spMkLst>
        </pc:spChg>
        <pc:spChg chg="add mod ord">
          <ac:chgData name="Malte Wangerin" userId="62402425-2f57-4945-9295-3c6b16e42f98" providerId="ADAL" clId="{56BC4540-4D6B-4DAA-9805-5130E28481A3}" dt="2023-08-30T13:44:29.624" v="47" actId="14100"/>
          <ac:spMkLst>
            <pc:docMk/>
            <pc:sldMk cId="1438000875" sldId="804"/>
            <ac:spMk id="7" creationId="{BEBE496C-FE05-1BD5-995F-8A0F9B4EC937}"/>
          </ac:spMkLst>
        </pc:spChg>
      </pc:sldChg>
      <pc:sldChg chg="modSp add mod">
        <pc:chgData name="Malte Wangerin" userId="62402425-2f57-4945-9295-3c6b16e42f98" providerId="ADAL" clId="{56BC4540-4D6B-4DAA-9805-5130E28481A3}" dt="2023-08-30T13:44:59.989" v="90" actId="790"/>
        <pc:sldMkLst>
          <pc:docMk/>
          <pc:sldMk cId="4182424454" sldId="805"/>
        </pc:sldMkLst>
        <pc:spChg chg="mod">
          <ac:chgData name="Malte Wangerin" userId="62402425-2f57-4945-9295-3c6b16e42f98" providerId="ADAL" clId="{56BC4540-4D6B-4DAA-9805-5130E28481A3}" dt="2023-08-30T13:44:59.989" v="90" actId="790"/>
          <ac:spMkLst>
            <pc:docMk/>
            <pc:sldMk cId="4182424454" sldId="805"/>
            <ac:spMk id="5" creationId="{00000000-0000-0000-0000-000000000000}"/>
          </ac:spMkLst>
        </pc:spChg>
      </pc:sldChg>
      <pc:sldChg chg="modSp add del mod">
        <pc:chgData name="Malte Wangerin" userId="62402425-2f57-4945-9295-3c6b16e42f98" providerId="ADAL" clId="{56BC4540-4D6B-4DAA-9805-5130E28481A3}" dt="2023-08-30T13:50:07.576" v="164" actId="47"/>
        <pc:sldMkLst>
          <pc:docMk/>
          <pc:sldMk cId="465099747" sldId="806"/>
        </pc:sldMkLst>
        <pc:spChg chg="mod">
          <ac:chgData name="Malte Wangerin" userId="62402425-2f57-4945-9295-3c6b16e42f98" providerId="ADAL" clId="{56BC4540-4D6B-4DAA-9805-5130E28481A3}" dt="2023-08-30T13:46:53.793" v="141" actId="790"/>
          <ac:spMkLst>
            <pc:docMk/>
            <pc:sldMk cId="465099747" sldId="806"/>
            <ac:spMk id="2" creationId="{23274EE5-158C-486B-AAA1-6A0F72F2072A}"/>
          </ac:spMkLst>
        </pc:spChg>
        <pc:spChg chg="mod">
          <ac:chgData name="Malte Wangerin" userId="62402425-2f57-4945-9295-3c6b16e42f98" providerId="ADAL" clId="{56BC4540-4D6B-4DAA-9805-5130E28481A3}" dt="2023-08-30T13:46:53.795" v="142" actId="790"/>
          <ac:spMkLst>
            <pc:docMk/>
            <pc:sldMk cId="465099747" sldId="806"/>
            <ac:spMk id="3" creationId="{54288A9F-E906-40AA-AF78-838CFE692934}"/>
          </ac:spMkLst>
        </pc:spChg>
      </pc:sldChg>
      <pc:sldChg chg="addSp delSp modSp add mod modClrScheme chgLayout">
        <pc:chgData name="Malte Wangerin" userId="62402425-2f57-4945-9295-3c6b16e42f98" providerId="ADAL" clId="{56BC4540-4D6B-4DAA-9805-5130E28481A3}" dt="2023-08-30T13:53:58.183" v="263" actId="14100"/>
        <pc:sldMkLst>
          <pc:docMk/>
          <pc:sldMk cId="2176123133" sldId="806"/>
        </pc:sldMkLst>
        <pc:spChg chg="mod ord">
          <ac:chgData name="Malte Wangerin" userId="62402425-2f57-4945-9295-3c6b16e42f98" providerId="ADAL" clId="{56BC4540-4D6B-4DAA-9805-5130E28481A3}" dt="2023-08-30T13:53:54.444" v="262" actId="1036"/>
          <ac:spMkLst>
            <pc:docMk/>
            <pc:sldMk cId="2176123133" sldId="806"/>
            <ac:spMk id="2" creationId="{00000000-0000-0000-0000-000000000000}"/>
          </ac:spMkLst>
        </pc:spChg>
        <pc:spChg chg="add del mod ord">
          <ac:chgData name="Malte Wangerin" userId="62402425-2f57-4945-9295-3c6b16e42f98" providerId="ADAL" clId="{56BC4540-4D6B-4DAA-9805-5130E28481A3}" dt="2023-08-30T13:53:17.244" v="235" actId="478"/>
          <ac:spMkLst>
            <pc:docMk/>
            <pc:sldMk cId="2176123133" sldId="806"/>
            <ac:spMk id="4" creationId="{24A897AC-EE9E-C971-6835-B66101D20618}"/>
          </ac:spMkLst>
        </pc:spChg>
        <pc:spChg chg="add mod ord">
          <ac:chgData name="Malte Wangerin" userId="62402425-2f57-4945-9295-3c6b16e42f98" providerId="ADAL" clId="{56BC4540-4D6B-4DAA-9805-5130E28481A3}" dt="2023-08-30T13:53:58.183" v="263" actId="14100"/>
          <ac:spMkLst>
            <pc:docMk/>
            <pc:sldMk cId="2176123133" sldId="806"/>
            <ac:spMk id="5" creationId="{2ADD1A38-E5E5-A6EA-E692-9B95C5CA6129}"/>
          </ac:spMkLst>
        </pc:spChg>
        <pc:spChg chg="del mod">
          <ac:chgData name="Malte Wangerin" userId="62402425-2f57-4945-9295-3c6b16e42f98" providerId="ADAL" clId="{56BC4540-4D6B-4DAA-9805-5130E28481A3}" dt="2023-08-30T13:53:28.563" v="239" actId="478"/>
          <ac:spMkLst>
            <pc:docMk/>
            <pc:sldMk cId="2176123133" sldId="806"/>
            <ac:spMk id="10" creationId="{00000000-0000-0000-0000-000000000000}"/>
          </ac:spMkLst>
        </pc:spChg>
        <pc:spChg chg="del mod">
          <ac:chgData name="Malte Wangerin" userId="62402425-2f57-4945-9295-3c6b16e42f98" providerId="ADAL" clId="{56BC4540-4D6B-4DAA-9805-5130E28481A3}" dt="2023-08-30T13:53:15.210" v="234" actId="478"/>
          <ac:spMkLst>
            <pc:docMk/>
            <pc:sldMk cId="2176123133" sldId="806"/>
            <ac:spMk id="12" creationId="{00000000-0000-0000-0000-000000000000}"/>
          </ac:spMkLst>
        </pc:spChg>
        <pc:spChg chg="del mod ord">
          <ac:chgData name="Malte Wangerin" userId="62402425-2f57-4945-9295-3c6b16e42f98" providerId="ADAL" clId="{56BC4540-4D6B-4DAA-9805-5130E28481A3}" dt="2023-08-30T13:53:42.239" v="241" actId="478"/>
          <ac:spMkLst>
            <pc:docMk/>
            <pc:sldMk cId="2176123133" sldId="806"/>
            <ac:spMk id="16" creationId="{00000000-0000-0000-0000-000000000000}"/>
          </ac:spMkLst>
        </pc:spChg>
        <pc:picChg chg="add del mod">
          <ac:chgData name="Malte Wangerin" userId="62402425-2f57-4945-9295-3c6b16e42f98" providerId="ADAL" clId="{56BC4540-4D6B-4DAA-9805-5130E28481A3}" dt="2023-08-30T13:53:26.524" v="238" actId="14100"/>
          <ac:picMkLst>
            <pc:docMk/>
            <pc:sldMk cId="2176123133" sldId="806"/>
            <ac:picMk id="3" creationId="{009482F8-6331-4AC4-BBB2-C0F11ECBF4DB}"/>
          </ac:picMkLst>
        </pc:picChg>
      </pc:sldChg>
      <pc:sldChg chg="modSp add mod">
        <pc:chgData name="Malte Wangerin" userId="62402425-2f57-4945-9295-3c6b16e42f98" providerId="ADAL" clId="{56BC4540-4D6B-4DAA-9805-5130E28481A3}" dt="2023-09-11T09:31:40.564" v="310" actId="790"/>
        <pc:sldMkLst>
          <pc:docMk/>
          <pc:sldMk cId="3508368566" sldId="1166"/>
        </pc:sldMkLst>
        <pc:spChg chg="mod">
          <ac:chgData name="Malte Wangerin" userId="62402425-2f57-4945-9295-3c6b16e42f98" providerId="ADAL" clId="{56BC4540-4D6B-4DAA-9805-5130E28481A3}" dt="2023-09-11T09:31:40.564" v="310" actId="790"/>
          <ac:spMkLst>
            <pc:docMk/>
            <pc:sldMk cId="3508368566" sldId="1166"/>
            <ac:spMk id="15" creationId="{CEA92671-E2E2-E437-8EBF-8419F45B699D}"/>
          </ac:spMkLst>
        </pc:spChg>
        <pc:spChg chg="mod">
          <ac:chgData name="Malte Wangerin" userId="62402425-2f57-4945-9295-3c6b16e42f98" providerId="ADAL" clId="{56BC4540-4D6B-4DAA-9805-5130E28481A3}" dt="2023-09-11T09:31:40.561" v="308" actId="790"/>
          <ac:spMkLst>
            <pc:docMk/>
            <pc:sldMk cId="3508368566" sldId="1166"/>
            <ac:spMk id="19" creationId="{00000000-0000-0000-0000-000000000000}"/>
          </ac:spMkLst>
        </pc:spChg>
        <pc:spChg chg="mod">
          <ac:chgData name="Malte Wangerin" userId="62402425-2f57-4945-9295-3c6b16e42f98" providerId="ADAL" clId="{56BC4540-4D6B-4DAA-9805-5130E28481A3}" dt="2023-09-11T09:31:40.560" v="307" actId="790"/>
          <ac:spMkLst>
            <pc:docMk/>
            <pc:sldMk cId="3508368566" sldId="1166"/>
            <ac:spMk id="20" creationId="{00000000-0000-0000-0000-000000000000}"/>
          </ac:spMkLst>
        </pc:spChg>
        <pc:spChg chg="mod">
          <ac:chgData name="Malte Wangerin" userId="62402425-2f57-4945-9295-3c6b16e42f98" providerId="ADAL" clId="{56BC4540-4D6B-4DAA-9805-5130E28481A3}" dt="2023-09-11T09:31:40.563" v="309" actId="790"/>
          <ac:spMkLst>
            <pc:docMk/>
            <pc:sldMk cId="3508368566" sldId="1166"/>
            <ac:spMk id="34" creationId="{0617B8B0-B4AD-A94B-AF7A-382461AC7EA9}"/>
          </ac:spMkLst>
        </pc:spChg>
      </pc:sldChg>
      <pc:sldChg chg="add">
        <pc:chgData name="Malte Wangerin" userId="62402425-2f57-4945-9295-3c6b16e42f98" providerId="ADAL" clId="{56BC4540-4D6B-4DAA-9805-5130E28481A3}" dt="2023-09-11T09:31:40.411" v="266"/>
        <pc:sldMkLst>
          <pc:docMk/>
          <pc:sldMk cId="3123653849" sldId="1167"/>
        </pc:sldMkLst>
      </pc:sldChg>
      <pc:sldChg chg="add del">
        <pc:chgData name="Malte Wangerin" userId="62402425-2f57-4945-9295-3c6b16e42f98" providerId="ADAL" clId="{56BC4540-4D6B-4DAA-9805-5130E28481A3}" dt="2023-09-11T09:32:31.680" v="339" actId="47"/>
        <pc:sldMkLst>
          <pc:docMk/>
          <pc:sldMk cId="3465571345" sldId="1170"/>
        </pc:sldMkLst>
      </pc:sldChg>
      <pc:sldChg chg="add">
        <pc:chgData name="Malte Wangerin" userId="62402425-2f57-4945-9295-3c6b16e42f98" providerId="ADAL" clId="{56BC4540-4D6B-4DAA-9805-5130E28481A3}" dt="2023-09-11T09:31:40.411" v="266"/>
        <pc:sldMkLst>
          <pc:docMk/>
          <pc:sldMk cId="4176134846" sldId="2147473738"/>
        </pc:sldMkLst>
      </pc:sldChg>
      <pc:sldChg chg="add del">
        <pc:chgData name="Malte Wangerin" userId="62402425-2f57-4945-9295-3c6b16e42f98" providerId="ADAL" clId="{56BC4540-4D6B-4DAA-9805-5130E28481A3}" dt="2023-09-11T09:32:29.478" v="338" actId="47"/>
        <pc:sldMkLst>
          <pc:docMk/>
          <pc:sldMk cId="595762788" sldId="2147473739"/>
        </pc:sldMkLst>
      </pc:sldChg>
      <pc:sldMasterChg chg="modSp delSldLayout modSldLayout">
        <pc:chgData name="Malte Wangerin" userId="62402425-2f57-4945-9295-3c6b16e42f98" providerId="ADAL" clId="{56BC4540-4D6B-4DAA-9805-5130E28481A3}" dt="2023-09-11T09:31:40.528" v="304" actId="20577"/>
        <pc:sldMasterMkLst>
          <pc:docMk/>
          <pc:sldMasterMk cId="1856203500" sldId="2147483675"/>
        </pc:sldMasterMkLst>
        <pc:spChg chg="mod">
          <ac:chgData name="Malte Wangerin" userId="62402425-2f57-4945-9295-3c6b16e42f98" providerId="ADAL" clId="{56BC4540-4D6B-4DAA-9805-5130E28481A3}" dt="2023-09-11T09:31:40.505" v="296"/>
          <ac:spMkLst>
            <pc:docMk/>
            <pc:sldMasterMk cId="1856203500" sldId="2147483675"/>
            <ac:spMk id="8" creationId="{94EE9C7D-69F0-0B53-6C96-895EC6C1CB6D}"/>
          </ac:spMkLst>
        </pc:spChg>
        <pc:sldLayoutChg chg="modSp mod">
          <pc:chgData name="Malte Wangerin" userId="62402425-2f57-4945-9295-3c6b16e42f98" providerId="ADAL" clId="{56BC4540-4D6B-4DAA-9805-5130E28481A3}" dt="2023-09-11T09:31:40.511" v="298" actId="20577"/>
          <pc:sldLayoutMkLst>
            <pc:docMk/>
            <pc:sldMasterMk cId="1856203500" sldId="2147483675"/>
            <pc:sldLayoutMk cId="202869720" sldId="2147483681"/>
          </pc:sldLayoutMkLst>
          <pc:spChg chg="mod">
            <ac:chgData name="Malte Wangerin" userId="62402425-2f57-4945-9295-3c6b16e42f98" providerId="ADAL" clId="{56BC4540-4D6B-4DAA-9805-5130E28481A3}" dt="2023-09-11T09:31:40.511" v="298" actId="20577"/>
            <ac:spMkLst>
              <pc:docMk/>
              <pc:sldMasterMk cId="1856203500" sldId="2147483675"/>
              <pc:sldLayoutMk cId="202869720" sldId="2147483681"/>
              <ac:spMk id="4" creationId="{00000000-0000-0000-0000-000000000000}"/>
            </ac:spMkLst>
          </pc:spChg>
        </pc:sldLayoutChg>
        <pc:sldLayoutChg chg="modSp mod">
          <pc:chgData name="Malte Wangerin" userId="62402425-2f57-4945-9295-3c6b16e42f98" providerId="ADAL" clId="{56BC4540-4D6B-4DAA-9805-5130E28481A3}" dt="2023-09-11T09:31:40.514" v="299" actId="20577"/>
          <pc:sldLayoutMkLst>
            <pc:docMk/>
            <pc:sldMasterMk cId="1856203500" sldId="2147483675"/>
            <pc:sldLayoutMk cId="1093794100" sldId="2147483683"/>
          </pc:sldLayoutMkLst>
          <pc:spChg chg="mod">
            <ac:chgData name="Malte Wangerin" userId="62402425-2f57-4945-9295-3c6b16e42f98" providerId="ADAL" clId="{56BC4540-4D6B-4DAA-9805-5130E28481A3}" dt="2023-09-11T09:31:40.514" v="299" actId="20577"/>
            <ac:spMkLst>
              <pc:docMk/>
              <pc:sldMasterMk cId="1856203500" sldId="2147483675"/>
              <pc:sldLayoutMk cId="1093794100" sldId="2147483683"/>
              <ac:spMk id="6" creationId="{00000000-0000-0000-0000-000000000000}"/>
            </ac:spMkLst>
          </pc:spChg>
        </pc:sldLayoutChg>
        <pc:sldLayoutChg chg="modSp mod">
          <pc:chgData name="Malte Wangerin" userId="62402425-2f57-4945-9295-3c6b16e42f98" providerId="ADAL" clId="{56BC4540-4D6B-4DAA-9805-5130E28481A3}" dt="2023-09-11T09:31:40.516" v="300" actId="20577"/>
          <pc:sldLayoutMkLst>
            <pc:docMk/>
            <pc:sldMasterMk cId="1856203500" sldId="2147483675"/>
            <pc:sldLayoutMk cId="1881227956" sldId="2147483685"/>
          </pc:sldLayoutMkLst>
          <pc:spChg chg="mod">
            <ac:chgData name="Malte Wangerin" userId="62402425-2f57-4945-9295-3c6b16e42f98" providerId="ADAL" clId="{56BC4540-4D6B-4DAA-9805-5130E28481A3}" dt="2023-09-11T09:31:40.516" v="300" actId="20577"/>
            <ac:spMkLst>
              <pc:docMk/>
              <pc:sldMasterMk cId="1856203500" sldId="2147483675"/>
              <pc:sldLayoutMk cId="1881227956" sldId="2147483685"/>
              <ac:spMk id="4" creationId="{00000000-0000-0000-0000-000000000000}"/>
            </ac:spMkLst>
          </pc:spChg>
        </pc:sldLayoutChg>
        <pc:sldLayoutChg chg="modSp mod">
          <pc:chgData name="Malte Wangerin" userId="62402425-2f57-4945-9295-3c6b16e42f98" providerId="ADAL" clId="{56BC4540-4D6B-4DAA-9805-5130E28481A3}" dt="2023-09-11T09:31:40.517" v="301" actId="20577"/>
          <pc:sldLayoutMkLst>
            <pc:docMk/>
            <pc:sldMasterMk cId="1856203500" sldId="2147483675"/>
            <pc:sldLayoutMk cId="3582499438" sldId="2147483686"/>
          </pc:sldLayoutMkLst>
          <pc:spChg chg="mod">
            <ac:chgData name="Malte Wangerin" userId="62402425-2f57-4945-9295-3c6b16e42f98" providerId="ADAL" clId="{56BC4540-4D6B-4DAA-9805-5130E28481A3}" dt="2023-09-11T09:31:40.517" v="301" actId="20577"/>
            <ac:spMkLst>
              <pc:docMk/>
              <pc:sldMasterMk cId="1856203500" sldId="2147483675"/>
              <pc:sldLayoutMk cId="3582499438" sldId="2147483686"/>
              <ac:spMk id="3" creationId="{00000000-0000-0000-0000-000000000000}"/>
            </ac:spMkLst>
          </pc:spChg>
        </pc:sldLayoutChg>
        <pc:sldLayoutChg chg="modSp mod">
          <pc:chgData name="Malte Wangerin" userId="62402425-2f57-4945-9295-3c6b16e42f98" providerId="ADAL" clId="{56BC4540-4D6B-4DAA-9805-5130E28481A3}" dt="2023-09-11T09:31:40.508" v="297" actId="20577"/>
          <pc:sldLayoutMkLst>
            <pc:docMk/>
            <pc:sldMasterMk cId="1856203500" sldId="2147483675"/>
            <pc:sldLayoutMk cId="202869720" sldId="2147483698"/>
          </pc:sldLayoutMkLst>
          <pc:spChg chg="mod">
            <ac:chgData name="Malte Wangerin" userId="62402425-2f57-4945-9295-3c6b16e42f98" providerId="ADAL" clId="{56BC4540-4D6B-4DAA-9805-5130E28481A3}" dt="2023-09-11T09:31:40.508" v="297" actId="20577"/>
            <ac:spMkLst>
              <pc:docMk/>
              <pc:sldMasterMk cId="1856203500" sldId="2147483675"/>
              <pc:sldLayoutMk cId="202869720" sldId="2147483698"/>
              <ac:spMk id="4" creationId="{00000000-0000-0000-0000-000000000000}"/>
            </ac:spMkLst>
          </pc:spChg>
        </pc:sldLayoutChg>
        <pc:sldLayoutChg chg="modSp mod">
          <pc:chgData name="Malte Wangerin" userId="62402425-2f57-4945-9295-3c6b16e42f98" providerId="ADAL" clId="{56BC4540-4D6B-4DAA-9805-5130E28481A3}" dt="2023-09-11T09:31:40.520" v="302" actId="20577"/>
          <pc:sldLayoutMkLst>
            <pc:docMk/>
            <pc:sldMasterMk cId="1856203500" sldId="2147483675"/>
            <pc:sldLayoutMk cId="4125311112" sldId="2147483709"/>
          </pc:sldLayoutMkLst>
          <pc:spChg chg="mod">
            <ac:chgData name="Malte Wangerin" userId="62402425-2f57-4945-9295-3c6b16e42f98" providerId="ADAL" clId="{56BC4540-4D6B-4DAA-9805-5130E28481A3}" dt="2023-09-11T09:31:40.520" v="302" actId="20577"/>
            <ac:spMkLst>
              <pc:docMk/>
              <pc:sldMasterMk cId="1856203500" sldId="2147483675"/>
              <pc:sldLayoutMk cId="4125311112" sldId="2147483709"/>
              <ac:spMk id="4" creationId="{00000000-0000-0000-0000-000000000000}"/>
            </ac:spMkLst>
          </pc:spChg>
        </pc:sldLayoutChg>
        <pc:sldLayoutChg chg="del">
          <pc:chgData name="Malte Wangerin" userId="62402425-2f57-4945-9295-3c6b16e42f98" providerId="ADAL" clId="{56BC4540-4D6B-4DAA-9805-5130E28481A3}" dt="2023-08-30T13:44:45.956" v="49" actId="47"/>
          <pc:sldLayoutMkLst>
            <pc:docMk/>
            <pc:sldMasterMk cId="1856203500" sldId="2147483675"/>
            <pc:sldLayoutMk cId="2230193558" sldId="2147483716"/>
          </pc:sldLayoutMkLst>
        </pc:sldLayoutChg>
        <pc:sldLayoutChg chg="modSp mod">
          <pc:chgData name="Malte Wangerin" userId="62402425-2f57-4945-9295-3c6b16e42f98" providerId="ADAL" clId="{56BC4540-4D6B-4DAA-9805-5130E28481A3}" dt="2023-09-11T09:31:40.524" v="303" actId="20577"/>
          <pc:sldLayoutMkLst>
            <pc:docMk/>
            <pc:sldMasterMk cId="1856203500" sldId="2147483675"/>
            <pc:sldLayoutMk cId="1387470962" sldId="2147483718"/>
          </pc:sldLayoutMkLst>
          <pc:spChg chg="mod">
            <ac:chgData name="Malte Wangerin" userId="62402425-2f57-4945-9295-3c6b16e42f98" providerId="ADAL" clId="{56BC4540-4D6B-4DAA-9805-5130E28481A3}" dt="2023-09-11T09:31:40.524" v="303" actId="20577"/>
            <ac:spMkLst>
              <pc:docMk/>
              <pc:sldMasterMk cId="1856203500" sldId="2147483675"/>
              <pc:sldLayoutMk cId="1387470962" sldId="2147483718"/>
              <ac:spMk id="4" creationId="{00000000-0000-0000-0000-000000000000}"/>
            </ac:spMkLst>
          </pc:spChg>
        </pc:sldLayoutChg>
        <pc:sldLayoutChg chg="modSp mod">
          <pc:chgData name="Malte Wangerin" userId="62402425-2f57-4945-9295-3c6b16e42f98" providerId="ADAL" clId="{56BC4540-4D6B-4DAA-9805-5130E28481A3}" dt="2023-09-11T09:31:40.528" v="304" actId="20577"/>
          <pc:sldLayoutMkLst>
            <pc:docMk/>
            <pc:sldMasterMk cId="1856203500" sldId="2147483675"/>
            <pc:sldLayoutMk cId="740134760" sldId="2147483719"/>
          </pc:sldLayoutMkLst>
          <pc:spChg chg="mod">
            <ac:chgData name="Malte Wangerin" userId="62402425-2f57-4945-9295-3c6b16e42f98" providerId="ADAL" clId="{56BC4540-4D6B-4DAA-9805-5130E28481A3}" dt="2023-09-11T09:31:40.528" v="304" actId="20577"/>
            <ac:spMkLst>
              <pc:docMk/>
              <pc:sldMasterMk cId="1856203500" sldId="2147483675"/>
              <pc:sldLayoutMk cId="740134760" sldId="2147483719"/>
              <ac:spMk id="5" creationId="{00000000-0000-0000-0000-000000000000}"/>
            </ac:spMkLst>
          </pc:spChg>
        </pc:sldLayoutChg>
        <pc:sldLayoutChg chg="del">
          <pc:chgData name="Malte Wangerin" userId="62402425-2f57-4945-9295-3c6b16e42f98" providerId="ADAL" clId="{56BC4540-4D6B-4DAA-9805-5130E28481A3}" dt="2023-08-30T13:57:50.467" v="264" actId="47"/>
          <pc:sldLayoutMkLst>
            <pc:docMk/>
            <pc:sldMasterMk cId="1856203500" sldId="2147483675"/>
            <pc:sldLayoutMk cId="2590568018" sldId="2147483719"/>
          </pc:sldLayoutMkLst>
        </pc:sldLayoutChg>
      </pc:sldMasterChg>
    </pc:docChg>
  </pc:docChgLst>
  <pc:docChgLst>
    <pc:chgData name="Eva Berneburg" userId="ec344632-402a-4a79-a7c2-c73c8a2cd330" providerId="ADAL" clId="{A5D95BA8-502F-4EE4-BF6D-C1AF6ABA7231}"/>
    <pc:docChg chg="custSel modSld modMainMaster replTag delTag">
      <pc:chgData name="Eva Berneburg" userId="ec344632-402a-4a79-a7c2-c73c8a2cd330" providerId="ADAL" clId="{A5D95BA8-502F-4EE4-BF6D-C1AF6ABA7231}" dt="2023-10-19T12:55:58.278" v="66"/>
      <pc:docMkLst>
        <pc:docMk/>
      </pc:docMkLst>
      <pc:sldChg chg="modSp mod">
        <pc:chgData name="Eva Berneburg" userId="ec344632-402a-4a79-a7c2-c73c8a2cd330" providerId="ADAL" clId="{A5D95BA8-502F-4EE4-BF6D-C1AF6ABA7231}" dt="2023-10-19T12:55:53.990" v="60" actId="20577"/>
        <pc:sldMkLst>
          <pc:docMk/>
          <pc:sldMk cId="1225158123" sldId="387"/>
        </pc:sldMkLst>
        <pc:spChg chg="mod">
          <ac:chgData name="Eva Berneburg" userId="ec344632-402a-4a79-a7c2-c73c8a2cd330" providerId="ADAL" clId="{A5D95BA8-502F-4EE4-BF6D-C1AF6ABA7231}" dt="2023-10-19T12:55:53.990" v="60" actId="20577"/>
          <ac:spMkLst>
            <pc:docMk/>
            <pc:sldMk cId="1225158123" sldId="387"/>
            <ac:spMk id="17" creationId="{00000000-0000-0000-0000-000000000000}"/>
          </ac:spMkLst>
        </pc:spChg>
      </pc:sldChg>
      <pc:sldMasterChg chg="modSp modSldLayout">
        <pc:chgData name="Eva Berneburg" userId="ec344632-402a-4a79-a7c2-c73c8a2cd330" providerId="ADAL" clId="{A5D95BA8-502F-4EE4-BF6D-C1AF6ABA7231}" dt="2023-10-19T12:55:58.278" v="66"/>
        <pc:sldMasterMkLst>
          <pc:docMk/>
          <pc:sldMasterMk cId="1856203500" sldId="2147483675"/>
        </pc:sldMasterMkLst>
        <pc:spChg chg="mod">
          <ac:chgData name="Eva Berneburg" userId="ec344632-402a-4a79-a7c2-c73c8a2cd330" providerId="ADAL" clId="{A5D95BA8-502F-4EE4-BF6D-C1AF6ABA7231}" dt="2023-10-19T12:55:58.273" v="63"/>
          <ac:spMkLst>
            <pc:docMk/>
            <pc:sldMasterMk cId="1856203500" sldId="2147483675"/>
            <ac:spMk id="2" creationId="{00000000-0000-0000-0000-000000000000}"/>
          </ac:spMkLst>
        </pc:spChg>
        <pc:spChg chg="mod">
          <ac:chgData name="Eva Berneburg" userId="ec344632-402a-4a79-a7c2-c73c8a2cd330" providerId="ADAL" clId="{A5D95BA8-502F-4EE4-BF6D-C1AF6ABA7231}" dt="2023-10-19T12:55:58.278" v="66"/>
          <ac:spMkLst>
            <pc:docMk/>
            <pc:sldMasterMk cId="1856203500" sldId="2147483675"/>
            <ac:spMk id="3" creationId="{00000000-0000-0000-0000-000000000000}"/>
          </ac:spMkLst>
        </pc:spChg>
        <pc:spChg chg="mod">
          <ac:chgData name="Eva Berneburg" userId="ec344632-402a-4a79-a7c2-c73c8a2cd330" providerId="ADAL" clId="{A5D95BA8-502F-4EE4-BF6D-C1AF6ABA7231}" dt="2023-10-19T12:34:06.152" v="42"/>
          <ac:spMkLst>
            <pc:docMk/>
            <pc:sldMasterMk cId="1856203500" sldId="2147483675"/>
            <ac:spMk id="8" creationId="{94EE9C7D-69F0-0B53-6C96-895EC6C1CB6D}"/>
          </ac:spMkLst>
        </pc:spChg>
        <pc:sldLayoutChg chg="modSp mod">
          <pc:chgData name="Eva Berneburg" userId="ec344632-402a-4a79-a7c2-c73c8a2cd330" providerId="ADAL" clId="{A5D95BA8-502F-4EE4-BF6D-C1AF6ABA7231}" dt="2023-10-19T12:34:06.155" v="44" actId="20577"/>
          <pc:sldLayoutMkLst>
            <pc:docMk/>
            <pc:sldMasterMk cId="1856203500" sldId="2147483675"/>
            <pc:sldLayoutMk cId="202869720" sldId="2147483681"/>
          </pc:sldLayoutMkLst>
          <pc:spChg chg="mod">
            <ac:chgData name="Eva Berneburg" userId="ec344632-402a-4a79-a7c2-c73c8a2cd330" providerId="ADAL" clId="{A5D95BA8-502F-4EE4-BF6D-C1AF6ABA7231}" dt="2023-10-19T12:34:06.155" v="44" actId="20577"/>
            <ac:spMkLst>
              <pc:docMk/>
              <pc:sldMasterMk cId="1856203500" sldId="2147483675"/>
              <pc:sldLayoutMk cId="202869720" sldId="2147483681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A5D95BA8-502F-4EE4-BF6D-C1AF6ABA7231}" dt="2023-10-19T12:34:06.156" v="45" actId="20577"/>
          <pc:sldLayoutMkLst>
            <pc:docMk/>
            <pc:sldMasterMk cId="1856203500" sldId="2147483675"/>
            <pc:sldLayoutMk cId="1093794100" sldId="2147483683"/>
          </pc:sldLayoutMkLst>
          <pc:spChg chg="mod">
            <ac:chgData name="Eva Berneburg" userId="ec344632-402a-4a79-a7c2-c73c8a2cd330" providerId="ADAL" clId="{A5D95BA8-502F-4EE4-BF6D-C1AF6ABA7231}" dt="2023-10-19T12:34:06.156" v="45" actId="20577"/>
            <ac:spMkLst>
              <pc:docMk/>
              <pc:sldMasterMk cId="1856203500" sldId="2147483675"/>
              <pc:sldLayoutMk cId="1093794100" sldId="2147483683"/>
              <ac:spMk id="6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A5D95BA8-502F-4EE4-BF6D-C1AF6ABA7231}" dt="2023-10-19T12:34:06.157" v="46" actId="20577"/>
          <pc:sldLayoutMkLst>
            <pc:docMk/>
            <pc:sldMasterMk cId="1856203500" sldId="2147483675"/>
            <pc:sldLayoutMk cId="1881227956" sldId="2147483685"/>
          </pc:sldLayoutMkLst>
          <pc:spChg chg="mod">
            <ac:chgData name="Eva Berneburg" userId="ec344632-402a-4a79-a7c2-c73c8a2cd330" providerId="ADAL" clId="{A5D95BA8-502F-4EE4-BF6D-C1AF6ABA7231}" dt="2023-10-19T12:34:06.157" v="46" actId="20577"/>
            <ac:spMkLst>
              <pc:docMk/>
              <pc:sldMasterMk cId="1856203500" sldId="2147483675"/>
              <pc:sldLayoutMk cId="1881227956" sldId="2147483685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A5D95BA8-502F-4EE4-BF6D-C1AF6ABA7231}" dt="2023-10-19T12:34:06.159" v="47" actId="20577"/>
          <pc:sldLayoutMkLst>
            <pc:docMk/>
            <pc:sldMasterMk cId="1856203500" sldId="2147483675"/>
            <pc:sldLayoutMk cId="3582499438" sldId="2147483686"/>
          </pc:sldLayoutMkLst>
          <pc:spChg chg="mod">
            <ac:chgData name="Eva Berneburg" userId="ec344632-402a-4a79-a7c2-c73c8a2cd330" providerId="ADAL" clId="{A5D95BA8-502F-4EE4-BF6D-C1AF6ABA7231}" dt="2023-10-19T12:34:06.159" v="47" actId="20577"/>
            <ac:spMkLst>
              <pc:docMk/>
              <pc:sldMasterMk cId="1856203500" sldId="2147483675"/>
              <pc:sldLayoutMk cId="3582499438" sldId="2147483686"/>
              <ac:spMk id="3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A5D95BA8-502F-4EE4-BF6D-C1AF6ABA7231}" dt="2023-10-19T12:34:06.153" v="43" actId="20577"/>
          <pc:sldLayoutMkLst>
            <pc:docMk/>
            <pc:sldMasterMk cId="1856203500" sldId="2147483675"/>
            <pc:sldLayoutMk cId="202869720" sldId="2147483698"/>
          </pc:sldLayoutMkLst>
          <pc:spChg chg="mod">
            <ac:chgData name="Eva Berneburg" userId="ec344632-402a-4a79-a7c2-c73c8a2cd330" providerId="ADAL" clId="{A5D95BA8-502F-4EE4-BF6D-C1AF6ABA7231}" dt="2023-10-19T12:34:06.153" v="43" actId="20577"/>
            <ac:spMkLst>
              <pc:docMk/>
              <pc:sldMasterMk cId="1856203500" sldId="2147483675"/>
              <pc:sldLayoutMk cId="202869720" sldId="2147483698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A5D95BA8-502F-4EE4-BF6D-C1AF6ABA7231}" dt="2023-10-19T12:34:06.162" v="48" actId="20577"/>
          <pc:sldLayoutMkLst>
            <pc:docMk/>
            <pc:sldMasterMk cId="1856203500" sldId="2147483675"/>
            <pc:sldLayoutMk cId="4125311112" sldId="2147483709"/>
          </pc:sldLayoutMkLst>
          <pc:spChg chg="mod">
            <ac:chgData name="Eva Berneburg" userId="ec344632-402a-4a79-a7c2-c73c8a2cd330" providerId="ADAL" clId="{A5D95BA8-502F-4EE4-BF6D-C1AF6ABA7231}" dt="2023-10-19T12:34:06.162" v="48" actId="20577"/>
            <ac:spMkLst>
              <pc:docMk/>
              <pc:sldMasterMk cId="1856203500" sldId="2147483675"/>
              <pc:sldLayoutMk cId="4125311112" sldId="2147483709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A5D95BA8-502F-4EE4-BF6D-C1AF6ABA7231}" dt="2023-10-19T12:34:06.165" v="49" actId="20577"/>
          <pc:sldLayoutMkLst>
            <pc:docMk/>
            <pc:sldMasterMk cId="1856203500" sldId="2147483675"/>
            <pc:sldLayoutMk cId="1387470962" sldId="2147483718"/>
          </pc:sldLayoutMkLst>
          <pc:spChg chg="mod">
            <ac:chgData name="Eva Berneburg" userId="ec344632-402a-4a79-a7c2-c73c8a2cd330" providerId="ADAL" clId="{A5D95BA8-502F-4EE4-BF6D-C1AF6ABA7231}" dt="2023-10-19T12:34:06.165" v="49" actId="20577"/>
            <ac:spMkLst>
              <pc:docMk/>
              <pc:sldMasterMk cId="1856203500" sldId="2147483675"/>
              <pc:sldLayoutMk cId="1387470962" sldId="2147483718"/>
              <ac:spMk id="4" creationId="{00000000-0000-0000-0000-000000000000}"/>
            </ac:spMkLst>
          </pc:spChg>
        </pc:sldLayoutChg>
        <pc:sldLayoutChg chg="modSp mod">
          <pc:chgData name="Eva Berneburg" userId="ec344632-402a-4a79-a7c2-c73c8a2cd330" providerId="ADAL" clId="{A5D95BA8-502F-4EE4-BF6D-C1AF6ABA7231}" dt="2023-10-19T12:34:06.166" v="50" actId="20577"/>
          <pc:sldLayoutMkLst>
            <pc:docMk/>
            <pc:sldMasterMk cId="1856203500" sldId="2147483675"/>
            <pc:sldLayoutMk cId="740134760" sldId="2147483719"/>
          </pc:sldLayoutMkLst>
          <pc:spChg chg="mod">
            <ac:chgData name="Eva Berneburg" userId="ec344632-402a-4a79-a7c2-c73c8a2cd330" providerId="ADAL" clId="{A5D95BA8-502F-4EE4-BF6D-C1AF6ABA7231}" dt="2023-10-19T12:34:06.166" v="50" actId="20577"/>
            <ac:spMkLst>
              <pc:docMk/>
              <pc:sldMasterMk cId="1856203500" sldId="2147483675"/>
              <pc:sldLayoutMk cId="740134760" sldId="2147483719"/>
              <ac:spMk id="5" creationId="{00000000-0000-0000-0000-000000000000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hPercent val="92"/>
      <c:rotY val="0"/>
      <c:depthPercent val="100"/>
      <c:rAngAx val="1"/>
    </c:view3D>
    <c:floor>
      <c:thickness val="0"/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thickness val="0"/>
      <c:spPr>
        <a:noFill/>
        <a:ln w="12700">
          <a:noFill/>
          <a:prstDash val="solid"/>
        </a:ln>
      </c:spPr>
    </c:sideWall>
    <c:backWall>
      <c:thickness val="0"/>
      <c:spPr>
        <a:noFill/>
        <a:ln w="12700">
          <a:noFill/>
          <a:prstDash val="solid"/>
        </a:ln>
      </c:spPr>
    </c:backWall>
    <c:plotArea>
      <c:layout>
        <c:manualLayout>
          <c:layoutTarget val="inner"/>
          <c:xMode val="edge"/>
          <c:yMode val="edge"/>
          <c:x val="8.4392311529655747E-2"/>
          <c:y val="7.8899424522504841E-2"/>
          <c:w val="0.86012072316559085"/>
          <c:h val="0.757582528679872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Cr</c:v>
                </c:pt>
              </c:strCache>
            </c:strRef>
          </c:tx>
          <c:spPr>
            <a:solidFill>
              <a:srgbClr val="00B482"/>
            </a:solidFill>
            <a:ln w="13377">
              <a:solidFill>
                <a:srgbClr val="969696"/>
              </a:solidFill>
              <a:prstDash val="solid"/>
            </a:ln>
          </c:spPr>
          <c:invertIfNegative val="0"/>
          <c:cat>
            <c:strRef>
              <c:f>Sheet1!$B$1:$D$1</c:f>
              <c:strCache>
                <c:ptCount val="3"/>
                <c:pt idx="0">
                  <c:v>Columbus DD</c:v>
                </c:pt>
                <c:pt idx="1">
                  <c:v>e.motion PS Pro</c:v>
                </c:pt>
                <c:pt idx="2">
                  <c:v>EnduRo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2.4</c:v>
                </c:pt>
                <c:pt idx="1">
                  <c:v>1.8</c:v>
                </c:pt>
                <c:pt idx="2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9C-4E82-9497-7E37A9E3B65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AS</c:v>
                </c:pt>
              </c:strCache>
            </c:strRef>
          </c:tx>
          <c:spPr>
            <a:solidFill>
              <a:srgbClr val="E6CD14"/>
            </a:solidFill>
            <a:ln w="13377">
              <a:noFill/>
              <a:prstDash val="solid"/>
            </a:ln>
          </c:spPr>
          <c:invertIfNegative val="0"/>
          <c:cat>
            <c:strRef>
              <c:f>Sheet1!$B$1:$D$1</c:f>
              <c:strCache>
                <c:ptCount val="3"/>
                <c:pt idx="0">
                  <c:v>Columbus DD</c:v>
                </c:pt>
                <c:pt idx="1">
                  <c:v>e.motion PS Pro</c:v>
                </c:pt>
                <c:pt idx="2">
                  <c:v>EnduRo</c:v>
                </c:pt>
              </c:strCache>
            </c:strRef>
          </c:cat>
          <c:val>
            <c:numRef>
              <c:f>Sheet1!$B$3:$D$3</c:f>
              <c:numCache>
                <c:formatCode>General</c:formatCode>
                <c:ptCount val="3"/>
                <c:pt idx="0">
                  <c:v>1.01</c:v>
                </c:pt>
                <c:pt idx="1">
                  <c:v>0.33</c:v>
                </c:pt>
                <c:pt idx="2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9C-4E82-9497-7E37A9E3B6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7"/>
        <c:gapDepth val="86"/>
        <c:shape val="box"/>
        <c:axId val="933046776"/>
        <c:axId val="933052264"/>
        <c:axId val="0"/>
      </c:bar3DChart>
      <c:catAx>
        <c:axId val="933046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3377">
            <a:solidFill>
              <a:srgbClr val="969696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+mj-lt"/>
                <a:ea typeface="RotisSansSerif"/>
                <a:cs typeface="RotisSansSerif"/>
              </a:defRPr>
            </a:pPr>
            <a:endParaRPr lang="de-DE"/>
          </a:p>
        </c:txPr>
        <c:crossAx val="9330522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933052264"/>
        <c:scaling>
          <c:orientation val="minMax"/>
          <c:max val="2.5"/>
        </c:scaling>
        <c:delete val="0"/>
        <c:axPos val="l"/>
        <c:majorGridlines>
          <c:spPr>
            <a:ln w="9525">
              <a:solidFill>
                <a:schemeClr val="tx1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400" b="0" i="0" u="none" strike="noStrike" baseline="0">
                    <a:solidFill>
                      <a:schemeClr val="tx1"/>
                    </a:solidFill>
                    <a:latin typeface="+mj-lt"/>
                    <a:ea typeface="RotisSansSerif"/>
                    <a:cs typeface="RotisSansSerif"/>
                  </a:defRPr>
                </a:pPr>
                <a:r>
                  <a:rPr lang="en-US" sz="1400" err="1">
                    <a:latin typeface="+mj-lt"/>
                  </a:rPr>
                  <a:t>Abrieb</a:t>
                </a:r>
                <a:r>
                  <a:rPr lang="en-US" sz="1400">
                    <a:latin typeface="+mj-lt"/>
                  </a:rPr>
                  <a:t> [mg/Mc]</a:t>
                </a:r>
              </a:p>
            </c:rich>
          </c:tx>
          <c:layout>
            <c:manualLayout>
              <c:xMode val="edge"/>
              <c:yMode val="edge"/>
              <c:x val="0.18066193703345132"/>
              <c:y val="0.31941158526712121"/>
            </c:manualLayout>
          </c:layout>
          <c:overlay val="0"/>
          <c:spPr>
            <a:noFill/>
            <a:ln w="26755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13377">
            <a:noFill/>
            <a:prstDash val="solid"/>
          </a:ln>
        </c:spPr>
        <c:txPr>
          <a:bodyPr rot="0" vert="horz"/>
          <a:lstStyle/>
          <a:p>
            <a:pPr>
              <a:defRPr sz="1264" b="0" i="0" u="none" strike="noStrike" baseline="0">
                <a:solidFill>
                  <a:schemeClr val="tx1"/>
                </a:solidFill>
                <a:latin typeface="+mn-lt"/>
                <a:ea typeface="RotisSansSerif"/>
                <a:cs typeface="RotisSansSerif"/>
              </a:defRPr>
            </a:pPr>
            <a:endParaRPr lang="de-DE"/>
          </a:p>
        </c:txPr>
        <c:crossAx val="933046776"/>
        <c:crosses val="autoZero"/>
        <c:crossBetween val="between"/>
      </c:valAx>
      <c:spPr>
        <a:noFill/>
        <a:ln w="26755">
          <a:noFill/>
        </a:ln>
      </c:spPr>
    </c:plotArea>
    <c:legend>
      <c:legendPos val="r"/>
      <c:layout>
        <c:manualLayout>
          <c:xMode val="edge"/>
          <c:yMode val="edge"/>
          <c:x val="0.79617089947089947"/>
          <c:y val="0.37997214050047001"/>
          <c:w val="0.113853835978836"/>
          <c:h val="0.15695619316935228"/>
        </c:manualLayout>
      </c:layout>
      <c:overlay val="0"/>
      <c:spPr>
        <a:solidFill>
          <a:schemeClr val="bg1"/>
        </a:solidFill>
        <a:ln w="13377">
          <a:noFill/>
          <a:prstDash val="solid"/>
        </a:ln>
      </c:spPr>
      <c:txPr>
        <a:bodyPr/>
        <a:lstStyle/>
        <a:p>
          <a:pPr>
            <a:defRPr sz="1400" b="0" i="0" u="none" strike="noStrike" baseline="0">
              <a:solidFill>
                <a:schemeClr val="tx1"/>
              </a:solidFill>
              <a:latin typeface="+mj-lt"/>
              <a:ea typeface="RotisSansSerif"/>
              <a:cs typeface="RotisSansSerif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85" b="1" i="0" u="none" strike="noStrike" baseline="0">
          <a:solidFill>
            <a:schemeClr val="tx1"/>
          </a:solidFill>
          <a:latin typeface="RotisSansSerif"/>
          <a:ea typeface="RotisSansSerif"/>
          <a:cs typeface="RotisSansSerif"/>
        </a:defRPr>
      </a:pPr>
      <a:endParaRPr lang="de-DE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de-DE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2E85986E-5E44-4667-9D8B-4AE60CACFF23}" type="datetimeFigureOut">
              <a:rPr lang="de-DE" smtClean="0">
                <a:latin typeface="Arial" pitchFamily="34" charset="0"/>
              </a:rPr>
              <a:pPr/>
              <a:t>19.10.2023</a:t>
            </a:fld>
            <a:endParaRPr lang="de-DE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de-DE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EEDEDA76-B035-4C09-8581-62F6D895289B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6827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B74DB2CD-CD95-4F82-8D61-856ADF8692F2}" type="datetimeFigureOut">
              <a:rPr lang="de-DE" smtClean="0"/>
              <a:pPr/>
              <a:t>19.10.2023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itchFamily="34" charset="0"/>
              </a:defRPr>
            </a:lvl1pPr>
          </a:lstStyle>
          <a:p>
            <a:fld id="{97C27236-3239-44C6-8255-61E4D0637A9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6374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544388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088776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633164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177552" algn="l" defTabSz="1088776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721940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30300" y="420688"/>
            <a:ext cx="5541963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39237" y="4788599"/>
            <a:ext cx="5924409" cy="4536567"/>
          </a:xfrm>
        </p:spPr>
        <p:txBody>
          <a:bodyPr anchor="t" anchorCtr="0"/>
          <a:lstStyle/>
          <a:p>
            <a:pPr defTabSz="1021806">
              <a:defRPr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55593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150945">
              <a:defRPr/>
            </a:pPr>
            <a:r>
              <a:rPr lang="de-DE" dirty="0"/>
              <a:t>Weitere Gründe für </a:t>
            </a:r>
            <a:r>
              <a:rPr lang="de-DE" dirty="0" err="1"/>
              <a:t>Polyethylenabrieb</a:t>
            </a:r>
            <a:r>
              <a:rPr lang="de-DE" dirty="0"/>
              <a:t>: Bestrahlung, freie Radikale</a:t>
            </a:r>
            <a:endParaRPr lang="en-US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12518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92163" y="434975"/>
            <a:ext cx="5730875" cy="3224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80534" y="4950911"/>
            <a:ext cx="5554133" cy="4690336"/>
          </a:xfrm>
        </p:spPr>
        <p:txBody>
          <a:bodyPr anchor="t" anchorCtr="0"/>
          <a:lstStyle/>
          <a:p>
            <a:pPr defTabSz="966612"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97C27236-3239-44C6-8255-61E4D0637A97}" type="slidenum">
              <a:rPr lang="de-DE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16</a:t>
            </a:fld>
            <a:endParaRPr lang="de-D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16714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30300" y="420688"/>
            <a:ext cx="5541963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39237" y="4788599"/>
            <a:ext cx="5924409" cy="4536567"/>
          </a:xfrm>
        </p:spPr>
        <p:txBody>
          <a:bodyPr anchor="t" anchorCtr="0"/>
          <a:lstStyle/>
          <a:p>
            <a:r>
              <a:rPr lang="de-DE" dirty="0"/>
              <a:t>Luxationssicherheit</a:t>
            </a:r>
          </a:p>
          <a:p>
            <a:r>
              <a:rPr lang="de-DE" dirty="0"/>
              <a:t>Trotz sehr schmaler Box (23 mm) -&gt; durch langlebige</a:t>
            </a:r>
            <a:r>
              <a:rPr lang="de-DE" baseline="0" dirty="0"/>
              <a:t> CFR-PEEK Lager</a:t>
            </a:r>
            <a:endParaRPr lang="de-DE" dirty="0"/>
          </a:p>
          <a:p>
            <a:r>
              <a:rPr lang="de-DE" dirty="0"/>
              <a:t>Langlebigkeit, Standfestigkeit</a:t>
            </a:r>
          </a:p>
          <a:p>
            <a:r>
              <a:rPr lang="de-DE" dirty="0"/>
              <a:t>Beweglichkeit, Lebensqualität</a:t>
            </a:r>
          </a:p>
          <a:p>
            <a:pPr>
              <a:buFontTx/>
              <a:buChar char="-"/>
            </a:pPr>
            <a:r>
              <a:rPr lang="de-DE" dirty="0"/>
              <a:t>Kraftübertragung bis 95% (je</a:t>
            </a:r>
            <a:r>
              <a:rPr lang="de-DE" baseline="0" dirty="0"/>
              <a:t> nach Beugegrad) über Femur und PE (axiale Krafteinleitung)</a:t>
            </a:r>
          </a:p>
          <a:p>
            <a:pPr>
              <a:buFontTx/>
              <a:buChar char="-"/>
            </a:pPr>
            <a:r>
              <a:rPr lang="de-DE" baseline="0" dirty="0" err="1"/>
              <a:t>Konusfügen+Sicherheitsmutter</a:t>
            </a:r>
            <a:endParaRPr lang="de-DE" baseline="0" dirty="0"/>
          </a:p>
          <a:p>
            <a:pPr>
              <a:buFontTx/>
              <a:buChar char="-"/>
            </a:pPr>
            <a:r>
              <a:rPr lang="de-DE" baseline="0" dirty="0"/>
              <a:t>Nahe zusammenliegende Rotations- und Flexionsachse für geringe Hebelwirkungen auf die Achsen</a:t>
            </a:r>
          </a:p>
          <a:p>
            <a:pPr>
              <a:buFontTx/>
              <a:buChar char="-"/>
            </a:pPr>
            <a:r>
              <a:rPr lang="de-DE" baseline="0" dirty="0"/>
              <a:t>3 Größen, gleichbleibend kleine Box, Kugelradius, 12° Rotationsmöglichkeit um die Hochachse, mind. 140° Flexion</a:t>
            </a:r>
          </a:p>
          <a:p>
            <a:pPr>
              <a:buFontTx/>
              <a:buChar char="-"/>
            </a:pPr>
            <a:r>
              <a:rPr lang="de-DE" baseline="0" dirty="0"/>
              <a:t>PE Höhen 10-24 mm</a:t>
            </a:r>
          </a:p>
          <a:p>
            <a:pPr>
              <a:buFontTx/>
              <a:buChar char="-"/>
            </a:pPr>
            <a:r>
              <a:rPr lang="de-DE" baseline="0" dirty="0" err="1"/>
              <a:t>Spacer</a:t>
            </a:r>
            <a:r>
              <a:rPr lang="de-DE" baseline="0" dirty="0"/>
              <a:t> Femur: 4,8,12, Tibia 4-16mm</a:t>
            </a:r>
          </a:p>
          <a:p>
            <a:pPr>
              <a:buFontTx/>
              <a:buChar char="-"/>
            </a:pPr>
            <a:r>
              <a:rPr lang="de-DE" baseline="0" dirty="0"/>
              <a:t>Schäfte: Offset </a:t>
            </a:r>
            <a:r>
              <a:rPr lang="de-DE" baseline="0" dirty="0" err="1"/>
              <a:t>tibial</a:t>
            </a:r>
            <a:r>
              <a:rPr lang="de-DE" baseline="0" dirty="0"/>
              <a:t> </a:t>
            </a:r>
            <a:r>
              <a:rPr lang="en-US" dirty="0"/>
              <a:t>±</a:t>
            </a:r>
            <a:r>
              <a:rPr lang="de-DE" dirty="0"/>
              <a:t>6, femoral </a:t>
            </a:r>
            <a:r>
              <a:rPr lang="en-US" dirty="0"/>
              <a:t>±</a:t>
            </a:r>
            <a:r>
              <a:rPr lang="de-DE" dirty="0"/>
              <a:t>2</a:t>
            </a:r>
            <a:endParaRPr lang="de-DE" baseline="0" dirty="0"/>
          </a:p>
          <a:p>
            <a:pPr>
              <a:buFontTx/>
              <a:buChar char="-"/>
            </a:pPr>
            <a:r>
              <a:rPr lang="de-DE" baseline="0" dirty="0"/>
              <a:t>zementiert: 3 Durchmesser 12,15,18 in zwei Längen 52/92 </a:t>
            </a:r>
            <a:r>
              <a:rPr lang="de-DE" baseline="0" dirty="0" err="1"/>
              <a:t>tibial</a:t>
            </a:r>
            <a:r>
              <a:rPr lang="de-DE" baseline="0" dirty="0"/>
              <a:t>, femoral 6° 77, 157mm</a:t>
            </a:r>
          </a:p>
          <a:p>
            <a:pPr>
              <a:buFontTx/>
              <a:buChar char="-"/>
            </a:pPr>
            <a:r>
              <a:rPr lang="de-DE" baseline="0" dirty="0"/>
              <a:t>zementfrei: </a:t>
            </a:r>
            <a:r>
              <a:rPr lang="de-DE" baseline="0" dirty="0" err="1"/>
              <a:t>tibial</a:t>
            </a:r>
            <a:r>
              <a:rPr lang="de-DE" baseline="0" dirty="0"/>
              <a:t> 92, 172 11-20mm in 1mm Abstufungen, </a:t>
            </a:r>
            <a:r>
              <a:rPr lang="de-DE" baseline="0" dirty="0" err="1"/>
              <a:t>femural</a:t>
            </a:r>
            <a:r>
              <a:rPr lang="de-DE" baseline="0" dirty="0"/>
              <a:t> 12-20mm, 5°/7° 117, 177mm</a:t>
            </a:r>
            <a:endParaRPr lang="en-US" dirty="0"/>
          </a:p>
          <a:p>
            <a:pPr defTabSz="1021806">
              <a:defRPr/>
            </a:pP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5459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150945">
              <a:defRPr/>
            </a:pPr>
            <a:endParaRPr lang="en-US">
              <a:cs typeface="Arial"/>
            </a:endParaRPr>
          </a:p>
          <a:p>
            <a:endParaRPr lang="de-DE">
              <a:cs typeface="Arial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320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03458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0725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17588" y="400050"/>
            <a:ext cx="5280025" cy="2970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80534" y="4560570"/>
            <a:ext cx="5554133" cy="4320540"/>
          </a:xfrm>
        </p:spPr>
        <p:txBody>
          <a:bodyPr anchor="t" anchorCtr="0"/>
          <a:lstStyle/>
          <a:p>
            <a:pPr defTabSz="966612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endParaRPr lang="de-DE" dirty="0"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7798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17588" y="400050"/>
            <a:ext cx="5280025" cy="2970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80534" y="4560570"/>
            <a:ext cx="5554133" cy="4320540"/>
          </a:xfrm>
        </p:spPr>
        <p:txBody>
          <a:bodyPr anchor="t" anchorCtr="0"/>
          <a:lstStyle/>
          <a:p>
            <a:pPr defTabSz="966612"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66510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17588" y="400050"/>
            <a:ext cx="5280025" cy="2970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80534" y="4560570"/>
            <a:ext cx="5554133" cy="4320540"/>
          </a:xfrm>
        </p:spPr>
        <p:txBody>
          <a:bodyPr anchor="t" anchorCtr="0"/>
          <a:lstStyle/>
          <a:p>
            <a:pPr defTabSz="966612">
              <a:defRPr/>
            </a:pP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0759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C27236-3239-44C6-8255-61E4D0637A97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8123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527" y="1210310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3412" y="692807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805527" y="3789041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440A588-04FD-D0BA-9072-FBC7A00625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7800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116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48" y="8967"/>
            <a:ext cx="6095999" cy="6858000"/>
          </a:xfrm>
          <a:noFill/>
        </p:spPr>
        <p:txBody>
          <a:bodyPr wrap="square" lIns="0" tIns="0" rIns="0" bIns="0" anchor="ctr" anchorCtr="0">
            <a:noAutofit/>
          </a:bodyPr>
          <a:lstStyle>
            <a:lvl1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71120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None/>
              <a:defRPr kumimoji="0" sz="2500" b="0" i="0" u="none" kern="1200" cap="none" spc="0" baseline="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0" indent="0" algn="ctr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25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Insert a text that is related </a:t>
            </a:r>
          </a:p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Fünfte Ebene</a:t>
            </a:r>
          </a:p>
          <a:p>
            <a:pPr lvl="3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96BF2D-E9C1-5EC0-BA14-AA1C74B3BD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1"/>
            <a:ext cx="6096000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1241482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075613" y="0"/>
            <a:ext cx="4116387" cy="6858000"/>
          </a:xfrm>
          <a:solidFill>
            <a:schemeClr val="bg1"/>
          </a:solidFill>
        </p:spPr>
        <p:txBody>
          <a:bodyPr lIns="828000" tIns="756000" rIns="252000" bIns="450000" anchor="t" anchorCtr="0"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FB83-B54B-A1CA-C646-09569CA594A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8075613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73674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0"/>
            <a:ext cx="4116388" cy="6858000"/>
          </a:xfrm>
          <a:noFill/>
        </p:spPr>
        <p:txBody>
          <a:bodyPr vert="horz" lIns="828000" tIns="756000" rIns="252000" bIns="450000" rtlCol="0" anchor="t" anchorCtr="0">
            <a:noAutofit/>
          </a:bodyPr>
          <a:lstStyle>
            <a:lvl1pPr>
              <a:defRPr kumimoji="0" lang="de-DE" b="0" i="0" u="none" cap="none" spc="0" baseline="0" dirty="0">
                <a:latin typeface="Arial" panose="020B0604020202020204" pitchFamily="34" charset="0"/>
              </a:defRPr>
            </a:lvl1pPr>
            <a:lvl2pPr>
              <a:defRPr kumimoji="0" lang="de-DE" b="0" i="0" u="none" cap="none" spc="0" baseline="0" dirty="0">
                <a:latin typeface="Arial" panose="020B0604020202020204" pitchFamily="34" charset="0"/>
              </a:defRPr>
            </a:lvl2pPr>
            <a:lvl3pPr>
              <a:defRPr kumimoji="0" lang="de-DE" b="0" i="0" u="none" cap="none" spc="0" baseline="0" dirty="0">
                <a:latin typeface="Arial" panose="020B0604020202020204" pitchFamily="34" charset="0"/>
              </a:defRPr>
            </a:lvl3pPr>
            <a:lvl4pPr>
              <a:defRPr kumimoji="0" lang="de-DE" b="0" i="0" u="none" cap="none" spc="0" baseline="0" dirty="0">
                <a:latin typeface="Arial" panose="020B0604020202020204" pitchFamily="34" charset="0"/>
              </a:defRPr>
            </a:lvl4pPr>
            <a:lvl5pPr>
              <a:defRPr kumimoji="0" lang="de-DE" b="0" i="0" u="none" cap="none" spc="0" baseline="0" dirty="0">
                <a:latin typeface="Arial" panose="020B0604020202020204" pitchFamily="34" charset="0"/>
              </a:defRPr>
            </a:lvl5pPr>
            <a:lvl6pPr>
              <a:defRPr lang="de-DE" dirty="0"/>
            </a:lvl6pPr>
            <a:lvl7pPr>
              <a:defRPr lang="de-DE" dirty="0"/>
            </a:lvl7pPr>
            <a:lvl8pPr>
              <a:defRPr lang="de-DE" dirty="0"/>
            </a:lvl8pPr>
            <a:lvl9pPr>
              <a:defRPr lang="de-DE" dirty="0"/>
            </a:lvl9pPr>
          </a:lstStyle>
          <a:p>
            <a:pPr lvl="0" fontAlgn="auto">
              <a:lnSpc>
                <a:spcPct val="114000"/>
              </a:lnSpc>
              <a:buClrTx/>
              <a:buSzPts val="1200"/>
            </a:pPr>
            <a:r>
              <a:rPr lang="de-DE"/>
              <a:t>Textmasterformat bearbeiten</a:t>
            </a:r>
          </a:p>
          <a:p>
            <a:pPr lvl="1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Zweite Ebene</a:t>
            </a:r>
          </a:p>
          <a:p>
            <a:pPr lvl="2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Dritte Ebene</a:t>
            </a:r>
          </a:p>
          <a:p>
            <a:pPr lvl="3" fontAlgn="auto">
              <a:lnSpc>
                <a:spcPct val="114000"/>
              </a:lnSpc>
              <a:spcBef>
                <a:spcPts val="0"/>
              </a:spcBef>
              <a:buClrTx/>
              <a:buSzPts val="1200"/>
            </a:pPr>
            <a:r>
              <a:rPr lang="de-DE"/>
              <a:t>Vierte Ebene</a:t>
            </a:r>
          </a:p>
          <a:p>
            <a:pPr lvl="4" fontAlgn="auto">
              <a:lnSpc>
                <a:spcPct val="114000"/>
              </a:lnSpc>
              <a:spcBef>
                <a:spcPts val="0"/>
              </a:spcBef>
            </a:pPr>
            <a:r>
              <a:rPr lang="de-DE"/>
              <a:t>Fünfte Ebene</a:t>
            </a:r>
          </a:p>
          <a:p>
            <a:pPr lvl="5">
              <a:lnSpc>
                <a:spcPct val="114000"/>
              </a:lnSpc>
              <a:spcBef>
                <a:spcPts val="0"/>
              </a:spcBef>
              <a:buFontTx/>
            </a:pPr>
            <a:r>
              <a:rPr lang="de-DE"/>
              <a:t>Sechste Ebene</a:t>
            </a:r>
          </a:p>
          <a:p>
            <a:pPr lvl="6">
              <a:lnSpc>
                <a:spcPct val="114000"/>
              </a:lnSpc>
              <a:spcBef>
                <a:spcPts val="0"/>
              </a:spcBef>
            </a:pPr>
            <a:r>
              <a:rPr lang="de-DE"/>
              <a:t>Siebte Ebene</a:t>
            </a:r>
          </a:p>
          <a:p>
            <a:pPr lvl="7">
              <a:lnSpc>
                <a:spcPct val="114000"/>
              </a:lnSpc>
              <a:spcBef>
                <a:spcPts val="0"/>
              </a:spcBef>
            </a:pPr>
            <a:r>
              <a:rPr lang="de-DE"/>
              <a:t>Achte Ebene</a:t>
            </a:r>
          </a:p>
          <a:p>
            <a:pPr lvl="8">
              <a:lnSpc>
                <a:spcPct val="114000"/>
              </a:lnSpc>
              <a:spcBef>
                <a:spcPts val="0"/>
              </a:spcBef>
            </a:pPr>
            <a:r>
              <a:rPr lang="de-DE"/>
              <a:t>Neunte Ebene</a:t>
            </a:r>
            <a:endParaRPr lang="de-D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96BF2D-E9C1-5EC0-BA14-AA1C74B3BD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16387" y="1"/>
            <a:ext cx="8075613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49392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Content Stage">
    <p:bg>
      <p:bgPr>
        <a:solidFill>
          <a:srgbClr val="FA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075613" y="0"/>
            <a:ext cx="4116387" cy="6858000"/>
          </a:xfrm>
          <a:solidFill>
            <a:schemeClr val="bg1"/>
          </a:solidFill>
        </p:spPr>
        <p:txBody>
          <a:bodyPr lIns="828000" tIns="756000" rIns="252000" bIns="450000" anchor="t" anchorCtr="0"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933ECF-2676-88FC-A5BF-E441A16B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6074" y="692992"/>
            <a:ext cx="6802094" cy="863800"/>
          </a:xfrm>
        </p:spPr>
        <p:txBody>
          <a:bodyPr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F005427-EEE2-08D7-A312-1AE9E2912FC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0100" y="2097088"/>
            <a:ext cx="6802094" cy="407511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7721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04E6D14-27DC-D3E0-0821-EC3996D861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5899" y="0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01428" y="1210805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99313" y="693302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6001428" y="3789536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DFB9CCD-3A91-D110-48F7-86B2AAAA96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919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836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A8B2A73-69F0-DFEA-BE03-E1D9044C0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9832" y="2537346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01428" y="3763308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99313" y="3245805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6001428" y="6342039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6FB0B76-9E6D-A5D1-466F-8B1296003B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836" y="6189257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526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76C927A-8F80-126C-EBF0-5DD42FC8F6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537346"/>
            <a:ext cx="6996100" cy="432065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341" y="3747512"/>
            <a:ext cx="5866537" cy="2362706"/>
          </a:xfrm>
        </p:spPr>
        <p:txBody>
          <a:bodyPr lIns="0" tIns="18000" rIns="0" bIns="0" anchor="t" anchorCtr="0">
            <a:noAutofit/>
          </a:bodyPr>
          <a:lstStyle>
            <a:lvl1pPr algn="l"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3226" y="3230009"/>
            <a:ext cx="5866537" cy="323925"/>
          </a:xfrm>
        </p:spPr>
        <p:txBody>
          <a:bodyPr lIns="0" tIns="0" rIns="0" bIns="0" anchor="b" anchorCtr="0">
            <a:noAutofit/>
          </a:bodyPr>
          <a:lstStyle>
            <a:lvl1pPr marL="0" indent="0" algn="l" defTabSz="1088776" rtl="0" eaLnBrk="1" latinLnBrk="0" hangingPunct="1">
              <a:buNone/>
              <a:defRPr lang="de-DE" sz="1600" kern="1200" cap="none" baseline="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805341" y="6326243"/>
            <a:ext cx="5864422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A93A88D-3DFD-0170-E581-086E06AC66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80751" y="618650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815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">
          <a:xfrm>
            <a:off x="800100" y="819042"/>
            <a:ext cx="10624493" cy="5202246"/>
          </a:xfrm>
          <a:prstGeom prst="rect">
            <a:avLst/>
          </a:prstGeom>
          <a:solidFill>
            <a:srgbClr val="FA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0099" y="2024844"/>
            <a:ext cx="10591800" cy="2362705"/>
          </a:xfrm>
        </p:spPr>
        <p:txBody>
          <a:bodyPr wrap="square" lIns="0" tIns="18000" rIns="0" bIns="0" anchor="ctr" anchorCtr="0">
            <a:noAutofit/>
          </a:bodyPr>
          <a:lstStyle>
            <a:lvl1pPr algn="ctr">
              <a:defRPr lang="en-US" sz="5000" kern="1200" cap="none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81791" y="1304268"/>
            <a:ext cx="5830533" cy="540555"/>
          </a:xfrm>
          <a:noFill/>
        </p:spPr>
        <p:txBody>
          <a:bodyPr wrap="square" lIns="0" tIns="0" rIns="0" bIns="0" anchor="b" anchorCtr="0">
            <a:noAutofit/>
          </a:bodyPr>
          <a:lstStyle>
            <a:lvl1pPr marL="0" indent="0" algn="ctr" defTabSz="1088776" rtl="0" eaLnBrk="1" latinLnBrk="0" hangingPunct="1">
              <a:buNone/>
              <a:defRPr lang="de-DE" sz="1600" kern="1200" cap="none" baseline="0" dirty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0" name="shpTitleInfo"/>
          <p:cNvSpPr>
            <a:spLocks noGrp="1"/>
          </p:cNvSpPr>
          <p:nvPr>
            <p:ph type="body" sz="quarter" idx="13" hasCustomPrompt="1"/>
          </p:nvPr>
        </p:nvSpPr>
        <p:spPr>
          <a:xfrm>
            <a:off x="3181791" y="6381328"/>
            <a:ext cx="5826316" cy="265939"/>
          </a:xfrm>
        </p:spPr>
        <p:txBody>
          <a:bodyPr lIns="0" tIns="0" rIns="0" bIns="0"/>
          <a:lstStyle>
            <a:lvl1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rgbClr val="9C9A94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8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  <a:endParaRPr lang="de-DE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97DB2A3-09C2-65BD-2A0A-A41CE90EE1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74949" y="5026536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3860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5527" y="670142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14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3412" y="2168860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9048A56-3D53-80E2-F296-F1BDFEC47D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7800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3494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016732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7656" y="0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23183" y="670142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14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21068" y="2168860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0CCA43C-DC65-2F14-30F8-D6B449B3E1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919" y="337042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0707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806074" y="2240786"/>
            <a:ext cx="10798539" cy="3924222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28697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ottom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12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12124" y="3933056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17651" y="4603198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14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15536" y="6101916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9978DBE-FB4D-DF8F-5572-EF1B3724C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836" y="6189257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1363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DBB8A9A-7E47-8A4E-CE8D-C7E28E5C98C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712" y="0"/>
            <a:ext cx="12192000" cy="5841268"/>
          </a:xfrm>
        </p:spPr>
        <p:txBody>
          <a:bodyPr/>
          <a:lstStyle>
            <a:lvl1pPr algn="r">
              <a:defRPr/>
            </a:lvl1pPr>
          </a:lstStyle>
          <a:p>
            <a:endParaRPr lang="de-DE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4984B82-B0A2-C5E8-95D3-B1065C174C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64" y="3933056"/>
            <a:ext cx="4979876" cy="2924944"/>
          </a:xfr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8491" y="4603198"/>
            <a:ext cx="3778305" cy="1426710"/>
          </a:xfrm>
        </p:spPr>
        <p:txBody>
          <a:bodyPr lIns="0" tIns="18000" rIns="0" bIns="0" anchor="t" anchorCtr="0">
            <a:noAutofit/>
          </a:bodyPr>
          <a:lstStyle>
            <a:lvl1pPr algn="l">
              <a:lnSpc>
                <a:spcPct val="114000"/>
              </a:lnSpc>
              <a:defRPr lang="en-US" sz="4000" kern="1200" cap="none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376" y="6101916"/>
            <a:ext cx="3778305" cy="432048"/>
          </a:xfrm>
        </p:spPr>
        <p:txBody>
          <a:bodyPr lIns="0" tIns="0" rIns="0" bIns="0"/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100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l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1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2DE1DD9-928F-35B1-0F04-0F4CE2E488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80751" y="6186501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4064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gray">
          <a:xfrm>
            <a:off x="800100" y="819042"/>
            <a:ext cx="10624493" cy="5202246"/>
          </a:xfrm>
          <a:prstGeom prst="rect">
            <a:avLst/>
          </a:prstGeom>
          <a:solidFill>
            <a:srgbClr val="FA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0099" y="2024844"/>
            <a:ext cx="10591800" cy="2362705"/>
          </a:xfrm>
        </p:spPr>
        <p:txBody>
          <a:bodyPr wrap="square" lIns="0" tIns="18000" rIns="0" bIns="0" anchor="ctr" anchorCtr="0">
            <a:noAutofit/>
          </a:bodyPr>
          <a:lstStyle>
            <a:lvl1pPr algn="ctr">
              <a:defRPr lang="en-US" sz="5000" kern="1200" cap="none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181791" y="6381328"/>
            <a:ext cx="5826316" cy="265939"/>
          </a:xfrm>
        </p:spPr>
        <p:txBody>
          <a:bodyPr lIns="0" tIns="0" rIns="0" bIns="0"/>
          <a:lstStyle>
            <a:lvl1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rgbClr val="9C9A94"/>
                </a:solidFill>
                <a:latin typeface="Arial" pitchFamily="34" charset="0"/>
                <a:ea typeface="+mn-ea"/>
                <a:cs typeface="+mn-cs"/>
              </a:defRPr>
            </a:lvl1pPr>
            <a:lvl2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en-US" sz="8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0" indent="0" algn="ctr" defTabSz="1088776" rtl="0" eaLnBrk="1" latinLnBrk="0" hangingPunct="1">
              <a:spcBef>
                <a:spcPts val="0"/>
              </a:spcBef>
              <a:spcAft>
                <a:spcPts val="400"/>
              </a:spcAft>
              <a:buNone/>
              <a:defRPr lang="de-DE" sz="8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Textmasterformat bearbeiten</a:t>
            </a:r>
            <a:endParaRPr lang="de-DE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9D28B72-696E-4E4E-4F7A-228CCDB290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92346" y="4672083"/>
            <a:ext cx="1440000" cy="355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0543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9335244" y="0"/>
            <a:ext cx="2856756" cy="6858000"/>
          </a:xfrm>
          <a:solidFill>
            <a:schemeClr val="tx1">
              <a:alpha val="60000"/>
            </a:schemeClr>
          </a:solidFill>
        </p:spPr>
        <p:txBody>
          <a:bodyPr lIns="180000" tIns="450000" rIns="252000" bIns="450000" anchor="t" anchorCtr="0"/>
          <a:lstStyle>
            <a:lvl1pPr algn="r">
              <a:defRPr sz="1800">
                <a:solidFill>
                  <a:schemeClr val="bg1"/>
                </a:solidFill>
              </a:defRPr>
            </a:lvl1pPr>
            <a:lvl2pPr algn="r">
              <a:defRPr sz="1800">
                <a:solidFill>
                  <a:schemeClr val="bg1"/>
                </a:solidFill>
              </a:defRPr>
            </a:lvl2pPr>
            <a:lvl3pPr algn="r">
              <a:defRPr sz="1800">
                <a:solidFill>
                  <a:schemeClr val="bg1"/>
                </a:solidFill>
              </a:defRPr>
            </a:lvl3pPr>
            <a:lvl4pPr algn="r">
              <a:defRPr sz="1800">
                <a:solidFill>
                  <a:schemeClr val="bg1"/>
                </a:solidFill>
              </a:defRPr>
            </a:lvl4pPr>
            <a:lvl5pPr algn="r"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661458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57000" y="2060098"/>
            <a:ext cx="10798140" cy="4247039"/>
          </a:xfrm>
        </p:spPr>
        <p:txBody>
          <a:bodyPr/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874709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box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06074" y="2240785"/>
            <a:ext cx="10801726" cy="3924222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Wingdings" panose="05000000000000000000" pitchFamily="2" charset="2"/>
              <a:buChar char="§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2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/>
          <a:p>
            <a:r>
              <a:rPr lang="de-DE">
                <a:latin typeface="Arial" pitchFamily="34" charset="0"/>
              </a:rPr>
              <a:t>B. Braun Deutschland GmbH &amp; Co. KG </a:t>
            </a:r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809262" y="5661248"/>
            <a:ext cx="10798538" cy="647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7163" tIns="55725" rIns="107163" bIns="55725" anchor="t" anchorCtr="0"/>
          <a:lstStyle>
            <a:lvl1pPr algn="l"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>
              <a:spcBef>
                <a:spcPts val="0"/>
              </a:spcBef>
              <a:defRPr lang="en-US" sz="1600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>
              <a:spcBef>
                <a:spcPts val="0"/>
              </a:spcBef>
              <a:defRPr lang="de-DE" sz="1600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7401347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4">
            <a:extLst>
              <a:ext uri="{FF2B5EF4-FFF2-40B4-BE49-F238E27FC236}">
                <a16:creationId xmlns:a16="http://schemas.microsoft.com/office/drawing/2014/main" id="{17F1C13B-D206-BEDB-2928-552A4E6AED0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/>
            <a:endParaRPr lang="de-DE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2843" y="2421028"/>
            <a:ext cx="9646313" cy="2015943"/>
          </a:xfrm>
        </p:spPr>
        <p:txBody>
          <a:bodyPr lIns="0" tIns="0" rIns="0" bIns="0" anchor="ctr" anchorCtr="0">
            <a:noAutofit/>
          </a:bodyPr>
          <a:lstStyle>
            <a:lvl1pPr algn="ctr">
              <a:defRPr lang="en-US" sz="2800" kern="1200" cap="none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277229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8697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06074" y="2240786"/>
            <a:ext cx="521922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03218" y="2240786"/>
            <a:ext cx="5218641" cy="3924222"/>
          </a:xfrm>
        </p:spPr>
        <p:txBody>
          <a:bodyPr vert="horz" lIns="0" tIns="0" rIns="0" bIns="0" rtlCol="0">
            <a:noAutofit/>
          </a:bodyPr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lang="de-DE" sz="1800" b="0" i="0" u="none" kern="1200" cap="none" spc="0" baseline="0" smtClean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lang="de-DE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DE" dirty="0"/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37941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Questio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421029"/>
            <a:ext cx="12191999" cy="201594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de-DE" sz="4000" b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ctr" fontAlgn="base">
              <a:spcAft>
                <a:spcPct val="0"/>
              </a:spcAft>
            </a:pPr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12279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24994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0B9A7ED-578E-39D8-5116-824E7E48FA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53BC4E-F825-AB8B-1090-85882D096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" y="2151620"/>
            <a:ext cx="12187448" cy="2554760"/>
          </a:xfrm>
        </p:spPr>
        <p:txBody>
          <a:bodyPr anchor="ctr"/>
          <a:lstStyle>
            <a:lvl1pPr algn="ctr">
              <a:defRPr sz="7000">
                <a:solidFill>
                  <a:schemeClr val="bg2"/>
                </a:solidFill>
              </a:defRPr>
            </a:lvl1pPr>
          </a:lstStyle>
          <a:p>
            <a:r>
              <a:rPr lang="de-DE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25150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>
          <a:xfrm>
            <a:off x="952065" y="6380646"/>
            <a:ext cx="3740144" cy="3239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9118325" y="6380646"/>
            <a:ext cx="2844800" cy="323925"/>
          </a:xfrm>
          <a:prstGeom prst="rect">
            <a:avLst/>
          </a:prstGeom>
        </p:spPr>
        <p:txBody>
          <a:bodyPr/>
          <a:lstStyle/>
          <a:p>
            <a:fld id="{8D981D2A-10EE-45CA-B672-13EC15929D9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6724750" y="2247900"/>
            <a:ext cx="4896546" cy="1109092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8068" y="3645024"/>
            <a:ext cx="4896545" cy="2519984"/>
          </a:xfrm>
        </p:spPr>
        <p:txBody>
          <a:bodyPr/>
          <a:lstStyle>
            <a:lvl1pPr marL="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177800" indent="-17780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363538" indent="-4763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541338" indent="-180975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800"/>
              <a:buFont typeface="Wingdings" panose="05000000000000000000" pitchFamily="2" charset="2"/>
              <a:buChar char="§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7200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711200" indent="0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711200" indent="7938" algn="l" fontAlgn="auto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Arial" panose="020B0604020202020204" pitchFamily="34" charset="0"/>
              <a:buChar char="​"/>
              <a:defRPr kumimoji="0" sz="1800" b="0" i="0" u="none" kern="1200" cap="none" spc="0" baseline="0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  <a:endParaRPr lang="de-DE" noProof="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449BEA-F6F0-BEA5-22B3-E307542B80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8924" y="3141663"/>
            <a:ext cx="2448843" cy="5033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Space for your icon or image (delete this message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5311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6074" y="692992"/>
            <a:ext cx="10798538" cy="863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6074" y="2240785"/>
            <a:ext cx="10801726" cy="39242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</a:t>
            </a:r>
          </a:p>
          <a:p>
            <a:pPr lvl="7"/>
            <a:r>
              <a:rPr lang="de-DE" noProof="0"/>
              <a:t>Achte Ebene</a:t>
            </a:r>
          </a:p>
          <a:p>
            <a:pPr lvl="8"/>
            <a:r>
              <a:rPr lang="de-DE" noProof="0"/>
              <a:t>Neunte Ebene</a:t>
            </a:r>
            <a:endParaRPr lang="de-DE" noProof="0" dirty="0"/>
          </a:p>
        </p:txBody>
      </p:sp>
      <p:sp>
        <p:nvSpPr>
          <p:cNvPr id="8" name="shpFooter">
            <a:extLst>
              <a:ext uri="{FF2B5EF4-FFF2-40B4-BE49-F238E27FC236}">
                <a16:creationId xmlns:a16="http://schemas.microsoft.com/office/drawing/2014/main" id="{94EE9C7D-69F0-0B53-6C96-895EC6C1CB6D}"/>
              </a:ext>
            </a:extLst>
          </p:cNvPr>
          <p:cNvSpPr txBox="1"/>
          <p:nvPr userDrawn="1"/>
        </p:nvSpPr>
        <p:spPr bwMode="gray">
          <a:xfrm>
            <a:off x="1059712" y="6390921"/>
            <a:ext cx="3740144" cy="13442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de-DE" sz="800" b="0" i="0" u="none" kern="1200" spc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aun Deutschland GmbH &amp; Co. KG </a:t>
            </a:r>
            <a:endParaRPr lang="de-DE" sz="800" b="0" i="0" u="none" kern="1200" spc="0" dirty="0">
              <a:solidFill>
                <a:srgbClr val="9C9A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pFooterSlideNumber">
            <a:extLst>
              <a:ext uri="{FF2B5EF4-FFF2-40B4-BE49-F238E27FC236}">
                <a16:creationId xmlns:a16="http://schemas.microsoft.com/office/drawing/2014/main" id="{C25E9B4D-907D-BA1F-E793-5A712D82F210}"/>
              </a:ext>
            </a:extLst>
          </p:cNvPr>
          <p:cNvSpPr txBox="1"/>
          <p:nvPr userDrawn="1"/>
        </p:nvSpPr>
        <p:spPr bwMode="gray">
          <a:xfrm>
            <a:off x="806075" y="6394010"/>
            <a:ext cx="249366" cy="13133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fld id="{C17930DC-F455-427D-93BB-E63BDE7A6849}" type="slidenum">
              <a:rPr lang="de-DE" sz="800" b="0" i="0" u="none" kern="1200" spc="0" smtClean="0">
                <a:solidFill>
                  <a:srgbClr val="9C9A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Tx/>
                <a:buNone/>
              </a:pPr>
              <a:t>‹Nr.›</a:t>
            </a:fld>
            <a:endParaRPr lang="de-DE" sz="800" b="0" i="0" u="none" kern="1200" spc="0" dirty="0">
              <a:solidFill>
                <a:srgbClr val="9C9A9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7" name="*GRIDLINE01*" hidden="1">
            <a:extLst>
              <a:ext uri="{FF2B5EF4-FFF2-40B4-BE49-F238E27FC236}">
                <a16:creationId xmlns:a16="http://schemas.microsoft.com/office/drawing/2014/main" id="{BA7A5DCE-03A0-6088-B417-1AB954B49ADA}"/>
              </a:ext>
            </a:extLst>
          </p:cNvPr>
          <p:cNvGrpSpPr/>
          <p:nvPr userDrawn="1"/>
        </p:nvGrpSpPr>
        <p:grpSpPr>
          <a:xfrm>
            <a:off x="719137" y="512676"/>
            <a:ext cx="8101333" cy="5580620"/>
            <a:chOff x="719137" y="512676"/>
            <a:chExt cx="8101333" cy="5580620"/>
          </a:xfrm>
        </p:grpSpPr>
        <p:cxnSp>
          <p:nvCxnSpPr>
            <p:cNvPr id="50" name="*GRIDLINE01*Straight Connector 49" hidden="1">
              <a:extLst>
                <a:ext uri="{FF2B5EF4-FFF2-40B4-BE49-F238E27FC236}">
                  <a16:creationId xmlns:a16="http://schemas.microsoft.com/office/drawing/2014/main" id="{674A2A8E-37EE-3847-BEAF-3E4C9D2D665F}"/>
                </a:ext>
              </a:extLst>
            </p:cNvPr>
            <p:cNvCxnSpPr/>
            <p:nvPr userDrawn="1"/>
          </p:nvCxnSpPr>
          <p:spPr bwMode="hidden">
            <a:xfrm>
              <a:off x="719137" y="1881188"/>
              <a:ext cx="0" cy="4212107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*GRIDLINE01*Straight Connector 50" hidden="1">
              <a:extLst>
                <a:ext uri="{FF2B5EF4-FFF2-40B4-BE49-F238E27FC236}">
                  <a16:creationId xmlns:a16="http://schemas.microsoft.com/office/drawing/2014/main" id="{23C99C69-251C-282C-33EB-63CB78E1813C}"/>
                </a:ext>
              </a:extLst>
            </p:cNvPr>
            <p:cNvCxnSpPr/>
            <p:nvPr userDrawn="1"/>
          </p:nvCxnSpPr>
          <p:spPr bwMode="hidden">
            <a:xfrm>
              <a:off x="719137" y="1881188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*GRIDLINE01*Straight Connector 51" hidden="1">
              <a:extLst>
                <a:ext uri="{FF2B5EF4-FFF2-40B4-BE49-F238E27FC236}">
                  <a16:creationId xmlns:a16="http://schemas.microsoft.com/office/drawing/2014/main" id="{F72434FD-F986-0651-6388-1B7CFDD7FA11}"/>
                </a:ext>
              </a:extLst>
            </p:cNvPr>
            <p:cNvCxnSpPr/>
            <p:nvPr userDrawn="1"/>
          </p:nvCxnSpPr>
          <p:spPr bwMode="hidden">
            <a:xfrm>
              <a:off x="8820150" y="1881188"/>
              <a:ext cx="320" cy="4212107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*GRIDLINE01*Straight Connector 52" hidden="1">
              <a:extLst>
                <a:ext uri="{FF2B5EF4-FFF2-40B4-BE49-F238E27FC236}">
                  <a16:creationId xmlns:a16="http://schemas.microsoft.com/office/drawing/2014/main" id="{D04C6407-3666-3979-C7F8-5D34947397A5}"/>
                </a:ext>
              </a:extLst>
            </p:cNvPr>
            <p:cNvCxnSpPr/>
            <p:nvPr userDrawn="1"/>
          </p:nvCxnSpPr>
          <p:spPr bwMode="hidden">
            <a:xfrm>
              <a:off x="867645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*GRIDLINE01*Straight Connector 53" hidden="1">
              <a:extLst>
                <a:ext uri="{FF2B5EF4-FFF2-40B4-BE49-F238E27FC236}">
                  <a16:creationId xmlns:a16="http://schemas.microsoft.com/office/drawing/2014/main" id="{B0002C96-D6EA-2FCE-580F-93E7851EB07B}"/>
                </a:ext>
              </a:extLst>
            </p:cNvPr>
            <p:cNvCxnSpPr/>
            <p:nvPr userDrawn="1"/>
          </p:nvCxnSpPr>
          <p:spPr bwMode="hidden">
            <a:xfrm>
              <a:off x="190817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*GRIDLINE01*Straight Connector 54" hidden="1">
              <a:extLst>
                <a:ext uri="{FF2B5EF4-FFF2-40B4-BE49-F238E27FC236}">
                  <a16:creationId xmlns:a16="http://schemas.microsoft.com/office/drawing/2014/main" id="{1FC218A4-3E8E-8F11-6AA7-DF83A5131712}"/>
                </a:ext>
              </a:extLst>
            </p:cNvPr>
            <p:cNvCxnSpPr/>
            <p:nvPr userDrawn="1"/>
          </p:nvCxnSpPr>
          <p:spPr bwMode="hidden">
            <a:xfrm>
              <a:off x="719137" y="6093296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*GRIDLINE01*Straight Connector 55" hidden="1">
              <a:extLst>
                <a:ext uri="{FF2B5EF4-FFF2-40B4-BE49-F238E27FC236}">
                  <a16:creationId xmlns:a16="http://schemas.microsoft.com/office/drawing/2014/main" id="{F805D86C-D9AD-0AD7-F02A-3AA93022CDEF}"/>
                </a:ext>
              </a:extLst>
            </p:cNvPr>
            <p:cNvCxnSpPr/>
            <p:nvPr userDrawn="1"/>
          </p:nvCxnSpPr>
          <p:spPr bwMode="hidden">
            <a:xfrm>
              <a:off x="719137" y="5554663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*GRIDLINE01*Straight Connector 56" hidden="1">
              <a:extLst>
                <a:ext uri="{FF2B5EF4-FFF2-40B4-BE49-F238E27FC236}">
                  <a16:creationId xmlns:a16="http://schemas.microsoft.com/office/drawing/2014/main" id="{FEC516BA-EF60-A4AE-27DC-491262F210D1}"/>
                </a:ext>
              </a:extLst>
            </p:cNvPr>
            <p:cNvCxnSpPr/>
            <p:nvPr userDrawn="1"/>
          </p:nvCxnSpPr>
          <p:spPr bwMode="hidden">
            <a:xfrm>
              <a:off x="4644008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*GRIDLINE01*Straight Connector 57" hidden="1">
              <a:extLst>
                <a:ext uri="{FF2B5EF4-FFF2-40B4-BE49-F238E27FC236}">
                  <a16:creationId xmlns:a16="http://schemas.microsoft.com/office/drawing/2014/main" id="{CEE62730-54DD-CA8F-E16C-4CA674104838}"/>
                </a:ext>
              </a:extLst>
            </p:cNvPr>
            <p:cNvCxnSpPr/>
            <p:nvPr userDrawn="1"/>
          </p:nvCxnSpPr>
          <p:spPr bwMode="hidden">
            <a:xfrm>
              <a:off x="4896035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*GRIDLINE01*Straight Connector 58" hidden="1">
              <a:extLst>
                <a:ext uri="{FF2B5EF4-FFF2-40B4-BE49-F238E27FC236}">
                  <a16:creationId xmlns:a16="http://schemas.microsoft.com/office/drawing/2014/main" id="{B7DDFD8A-0D12-8C5C-2349-CA2540352CA2}"/>
                </a:ext>
              </a:extLst>
            </p:cNvPr>
            <p:cNvCxnSpPr/>
            <p:nvPr userDrawn="1"/>
          </p:nvCxnSpPr>
          <p:spPr bwMode="hidden">
            <a:xfrm>
              <a:off x="719459" y="5373688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*GRIDLINE01*Straight Connector 59" hidden="1">
              <a:extLst>
                <a:ext uri="{FF2B5EF4-FFF2-40B4-BE49-F238E27FC236}">
                  <a16:creationId xmlns:a16="http://schemas.microsoft.com/office/drawing/2014/main" id="{0DBBAD72-69A1-3D45-D7F0-BD60D26E8BF2}"/>
                </a:ext>
              </a:extLst>
            </p:cNvPr>
            <p:cNvCxnSpPr/>
            <p:nvPr userDrawn="1"/>
          </p:nvCxnSpPr>
          <p:spPr bwMode="hidden">
            <a:xfrm>
              <a:off x="1043608" y="1881188"/>
              <a:ext cx="0" cy="4212107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*GRIDLINE01*Straight Connector 60" hidden="1">
              <a:extLst>
                <a:ext uri="{FF2B5EF4-FFF2-40B4-BE49-F238E27FC236}">
                  <a16:creationId xmlns:a16="http://schemas.microsoft.com/office/drawing/2014/main" id="{A4B76B0F-FB49-A381-02B7-DD880D2E9C59}"/>
                </a:ext>
              </a:extLst>
            </p:cNvPr>
            <p:cNvCxnSpPr/>
            <p:nvPr userDrawn="1"/>
          </p:nvCxnSpPr>
          <p:spPr bwMode="hidden">
            <a:xfrm>
              <a:off x="719459" y="2924943"/>
              <a:ext cx="8101011" cy="0"/>
            </a:xfrm>
            <a:prstGeom prst="line">
              <a:avLst/>
            </a:prstGeom>
            <a:ln w="3175">
              <a:solidFill>
                <a:srgbClr val="CECC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*GRIDLINE01*Straight Connector 61" hidden="1">
              <a:extLst>
                <a:ext uri="{FF2B5EF4-FFF2-40B4-BE49-F238E27FC236}">
                  <a16:creationId xmlns:a16="http://schemas.microsoft.com/office/drawing/2014/main" id="{25D05BBA-20F0-4413-22E5-8A19A5399E7B}"/>
                </a:ext>
              </a:extLst>
            </p:cNvPr>
            <p:cNvCxnSpPr/>
            <p:nvPr userDrawn="1"/>
          </p:nvCxnSpPr>
          <p:spPr bwMode="hidden">
            <a:xfrm>
              <a:off x="719137" y="512676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*GRIDLINE01*Straight Connector 62" hidden="1">
              <a:extLst>
                <a:ext uri="{FF2B5EF4-FFF2-40B4-BE49-F238E27FC236}">
                  <a16:creationId xmlns:a16="http://schemas.microsoft.com/office/drawing/2014/main" id="{AA3C4912-D4FA-291F-0D27-458DD6B0D23F}"/>
                </a:ext>
              </a:extLst>
            </p:cNvPr>
            <p:cNvCxnSpPr/>
            <p:nvPr userDrawn="1"/>
          </p:nvCxnSpPr>
          <p:spPr bwMode="hidden">
            <a:xfrm>
              <a:off x="719137" y="1268760"/>
              <a:ext cx="8101011" cy="0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*GRIDLINE01*Straight Connector 63" hidden="1">
              <a:extLst>
                <a:ext uri="{FF2B5EF4-FFF2-40B4-BE49-F238E27FC236}">
                  <a16:creationId xmlns:a16="http://schemas.microsoft.com/office/drawing/2014/main" id="{24011B5D-90ED-C305-0853-5078CECEDF3D}"/>
                </a:ext>
              </a:extLst>
            </p:cNvPr>
            <p:cNvCxnSpPr/>
            <p:nvPr userDrawn="1"/>
          </p:nvCxnSpPr>
          <p:spPr bwMode="hidden">
            <a:xfrm>
              <a:off x="719137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*GRIDLINE01*Straight Connector 64" hidden="1">
              <a:extLst>
                <a:ext uri="{FF2B5EF4-FFF2-40B4-BE49-F238E27FC236}">
                  <a16:creationId xmlns:a16="http://schemas.microsoft.com/office/drawing/2014/main" id="{929C110A-1399-2135-04D0-9092F2B8262C}"/>
                </a:ext>
              </a:extLst>
            </p:cNvPr>
            <p:cNvCxnSpPr/>
            <p:nvPr userDrawn="1"/>
          </p:nvCxnSpPr>
          <p:spPr bwMode="hidden">
            <a:xfrm>
              <a:off x="8820148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*GRIDLINE01*Straight Connector 65" hidden="1">
              <a:extLst>
                <a:ext uri="{FF2B5EF4-FFF2-40B4-BE49-F238E27FC236}">
                  <a16:creationId xmlns:a16="http://schemas.microsoft.com/office/drawing/2014/main" id="{E48CC326-A648-A36E-C8A2-2BB1C57E1F0C}"/>
                </a:ext>
              </a:extLst>
            </p:cNvPr>
            <p:cNvCxnSpPr/>
            <p:nvPr userDrawn="1"/>
          </p:nvCxnSpPr>
          <p:spPr bwMode="hidden">
            <a:xfrm>
              <a:off x="7128284" y="512676"/>
              <a:ext cx="0" cy="756084"/>
            </a:xfrm>
            <a:prstGeom prst="line">
              <a:avLst/>
            </a:prstGeom>
            <a:ln w="3175">
              <a:solidFill>
                <a:srgbClr val="9899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56203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98" r:id="rId2"/>
    <p:sldLayoutId id="2147483678" r:id="rId3"/>
    <p:sldLayoutId id="2147483681" r:id="rId4"/>
    <p:sldLayoutId id="2147483683" r:id="rId5"/>
    <p:sldLayoutId id="2147483685" r:id="rId6"/>
    <p:sldLayoutId id="2147483686" r:id="rId7"/>
    <p:sldLayoutId id="2147483687" r:id="rId8"/>
    <p:sldLayoutId id="2147483709" r:id="rId9"/>
    <p:sldLayoutId id="2147483708" r:id="rId10"/>
    <p:sldLayoutId id="2147483688" r:id="rId11"/>
    <p:sldLayoutId id="2147483690" r:id="rId12"/>
    <p:sldLayoutId id="2147483710" r:id="rId13"/>
    <p:sldLayoutId id="2147483706" r:id="rId14"/>
    <p:sldLayoutId id="2147483703" r:id="rId15"/>
    <p:sldLayoutId id="2147483704" r:id="rId16"/>
    <p:sldLayoutId id="2147483707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7" r:id="rId23"/>
    <p:sldLayoutId id="2147483718" r:id="rId24"/>
    <p:sldLayoutId id="2147483719" r:id="rId25"/>
  </p:sldLayoutIdLst>
  <p:hf sldNum="0" hdr="0" dt="0"/>
  <p:txStyles>
    <p:titleStyle>
      <a:lvl1pPr marL="0" algn="l" defTabSz="1088776" rtl="0" eaLnBrk="1" latinLnBrk="0" hangingPunct="1">
        <a:lnSpc>
          <a:spcPct val="114000"/>
        </a:lnSpc>
        <a:spcBef>
          <a:spcPct val="0"/>
        </a:spcBef>
        <a:buNone/>
        <a:defRPr lang="de-DE" sz="2800" b="0" i="0" u="none" kern="1200" dirty="0">
          <a:solidFill>
            <a:schemeClr val="bg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8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1pPr>
      <a:lvl2pPr marL="177800" indent="-17780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800" b="0" i="0" u="none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2pPr>
      <a:lvl3pPr marL="363538" indent="-4763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8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3pPr>
      <a:lvl4pPr marL="541338" indent="-180975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8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4pPr>
      <a:lvl5pPr marL="720000" indent="0" algn="l" defTabSz="1088776" rtl="0" eaLnBrk="1" latinLnBrk="0" hangingPunct="1">
        <a:lnSpc>
          <a:spcPct val="114000"/>
        </a:lnSpc>
        <a:spcBef>
          <a:spcPts val="0"/>
        </a:spcBef>
        <a:spcAft>
          <a:spcPts val="0"/>
        </a:spcAft>
        <a:buFontTx/>
        <a:buNone/>
        <a:defRPr sz="1800" kern="1200">
          <a:solidFill>
            <a:schemeClr val="bg2"/>
          </a:solidFill>
          <a:latin typeface="+mn-lt"/>
          <a:ea typeface="+mn-ea"/>
          <a:cs typeface="Arial" panose="020B0604020202020204" pitchFamily="34" charset="0"/>
        </a:defRPr>
      </a:lvl5pPr>
      <a:lvl6pPr marL="711200" indent="0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>
          <a:srgbClr val="000000"/>
        </a:buClr>
        <a:buSzPts val="1200"/>
        <a:buFont typeface="Arial" panose="020B0604020202020204" pitchFamily="34" charset="0"/>
        <a:buNone/>
        <a:defRPr kumimoji="0" sz="18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6pPr>
      <a:lvl7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8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7pPr>
      <a:lvl8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8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8pPr>
      <a:lvl9pPr marL="711200" indent="7938" algn="l" defTabSz="1088776" rtl="0" eaLnBrk="1" fontAlgn="auto" latinLnBrk="0" hangingPunct="1">
        <a:lnSpc>
          <a:spcPct val="114000"/>
        </a:lnSpc>
        <a:spcBef>
          <a:spcPts val="0"/>
        </a:spcBef>
        <a:spcAft>
          <a:spcPts val="0"/>
        </a:spcAft>
        <a:buClrTx/>
        <a:buSzPts val="1200"/>
        <a:buFont typeface="Arial" panose="020B0604020202020204" pitchFamily="34" charset="0"/>
        <a:buChar char="​"/>
        <a:defRPr kumimoji="0" sz="1800" b="0" i="0" u="none" kern="1200" cap="none" spc="0" baseline="0">
          <a:solidFill>
            <a:schemeClr val="bg2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16" userDrawn="1">
          <p15:clr>
            <a:srgbClr val="A4A3A4"/>
          </p15:clr>
        </p15:guide>
        <p15:guide id="3" orient="horz" pos="3888" userDrawn="1">
          <p15:clr>
            <a:srgbClr val="A4A3A4"/>
          </p15:clr>
        </p15:guide>
        <p15:guide id="4" orient="horz" pos="2160" userDrawn="1">
          <p15:clr>
            <a:srgbClr val="A4A3A4"/>
          </p15:clr>
        </p15:guide>
        <p15:guide id="5" orient="horz" pos="936" userDrawn="1">
          <p15:clr>
            <a:srgbClr val="A4A3A4"/>
          </p15:clr>
        </p15:guide>
        <p15:guide id="8" pos="504" userDrawn="1">
          <p15:clr>
            <a:srgbClr val="A4A3A4"/>
          </p15:clr>
        </p15:guide>
        <p15:guide id="9" pos="7312" userDrawn="1">
          <p15:clr>
            <a:srgbClr val="A4A3A4"/>
          </p15:clr>
        </p15:guide>
        <p15:guide id="11" pos="7680" userDrawn="1">
          <p15:clr>
            <a:srgbClr val="A4A3A4"/>
          </p15:clr>
        </p15:guide>
        <p15:guide id="12" pos="384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8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0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hyperlink" Target="mailto:xxxxx@bbraun.com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5.svg"/><Relationship Id="rId12" Type="http://schemas.openxmlformats.org/officeDocument/2006/relationships/image" Target="../media/image3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5" Type="http://schemas.openxmlformats.org/officeDocument/2006/relationships/hyperlink" Target="http://www.bbraun.de/dsgvo" TargetMode="External"/><Relationship Id="rId10" Type="http://schemas.openxmlformats.org/officeDocument/2006/relationships/image" Target="../media/image28.png"/><Relationship Id="rId4" Type="http://schemas.openxmlformats.org/officeDocument/2006/relationships/hyperlink" Target="mailto:datenschutz-mv@bbraun.com" TargetMode="External"/><Relationship Id="rId9" Type="http://schemas.openxmlformats.org/officeDocument/2006/relationships/image" Target="../media/image27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ports.njrcentre.org.uk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7.xml"/><Relationship Id="rId7" Type="http://schemas.openxmlformats.org/officeDocument/2006/relationships/image" Target="../media/image8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BE496C-FE05-1BD5-995F-8A0F9B4EC9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-8709"/>
            <a:ext cx="5866537" cy="314967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805527" y="440668"/>
            <a:ext cx="5866537" cy="2362706"/>
          </a:xfrm>
        </p:spPr>
        <p:txBody>
          <a:bodyPr/>
          <a:lstStyle/>
          <a:p>
            <a:r>
              <a:rPr lang="de-DE" dirty="0"/>
              <a:t>Aesculap</a:t>
            </a:r>
            <a:r>
              <a:rPr lang="de-DE" baseline="30000" dirty="0"/>
              <a:t>® </a:t>
            </a:r>
            <a:r>
              <a:rPr lang="de-DE" dirty="0"/>
              <a:t>Enduro Revisionssystem</a:t>
            </a:r>
            <a:endParaRPr lang="de-DE" baseline="30000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803412" y="2204975"/>
            <a:ext cx="5866537" cy="323925"/>
          </a:xfrm>
        </p:spPr>
        <p:txBody>
          <a:bodyPr/>
          <a:lstStyle/>
          <a:p>
            <a:r>
              <a:rPr lang="de-DE" dirty="0"/>
              <a:t>Gekoppelt und achsgeführ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E82FA73-431D-4EB3-A22E-DE85BDDF780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092" y="3429000"/>
            <a:ext cx="3827574" cy="3429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AB64BB7-A5AA-4632-BDAF-71CEDD34B5D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59596" y="3417082"/>
            <a:ext cx="3827574" cy="3429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934770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A9C3E5CD-9233-445C-A18A-68B8DC9447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2921" y="2273473"/>
            <a:ext cx="2163639" cy="2163639"/>
          </a:xfrm>
          <a:prstGeom prst="rect">
            <a:avLst/>
          </a:prstGeom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vigierbar mit </a:t>
            </a:r>
            <a:r>
              <a:rPr lang="de-DE" dirty="0" err="1"/>
              <a:t>OrthoPilot</a:t>
            </a:r>
            <a:r>
              <a:rPr lang="de-DE" baseline="30000" dirty="0"/>
              <a:t>® Elite</a:t>
            </a:r>
            <a:br>
              <a:rPr lang="de-DE" dirty="0"/>
            </a:br>
            <a:r>
              <a:rPr lang="de-DE" dirty="0">
                <a:solidFill>
                  <a:srgbClr val="00B482"/>
                </a:solidFill>
              </a:rPr>
              <a:t>Neues OP-Erlebnis.</a:t>
            </a:r>
            <a:endParaRPr lang="de-DE" dirty="0"/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Fußzeilenplatzhalter 6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. Braun Deutschland GmbH &amp; Co. KG </a:t>
            </a:r>
            <a:endParaRPr lang="de-DE" dirty="0"/>
          </a:p>
        </p:txBody>
      </p:sp>
      <p:sp>
        <p:nvSpPr>
          <p:cNvPr id="10" name="Textfeld 3"/>
          <p:cNvSpPr txBox="1">
            <a:spLocks noChangeArrowheads="1"/>
          </p:cNvSpPr>
          <p:nvPr/>
        </p:nvSpPr>
        <p:spPr bwMode="auto">
          <a:xfrm>
            <a:off x="815413" y="1880802"/>
            <a:ext cx="3360372" cy="446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pPr algn="l">
              <a:buFont typeface="Wingdings" pitchFamily="2" charset="2"/>
              <a:buNone/>
            </a:pPr>
            <a:r>
              <a:rPr lang="de-DE">
                <a:solidFill>
                  <a:srgbClr val="00B482"/>
                </a:solidFill>
              </a:rPr>
              <a:t>Ihr Partner im OP</a:t>
            </a:r>
            <a:endParaRPr lang="de-DE" dirty="0">
              <a:solidFill>
                <a:srgbClr val="00B482"/>
              </a:solidFill>
            </a:endParaRPr>
          </a:p>
        </p:txBody>
      </p:sp>
      <p:sp>
        <p:nvSpPr>
          <p:cNvPr id="11" name="Textfeld 4"/>
          <p:cNvSpPr txBox="1">
            <a:spLocks noChangeArrowheads="1"/>
          </p:cNvSpPr>
          <p:nvPr/>
        </p:nvSpPr>
        <p:spPr bwMode="auto">
          <a:xfrm>
            <a:off x="4757039" y="1880802"/>
            <a:ext cx="3418331" cy="446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de-DE">
                <a:solidFill>
                  <a:srgbClr val="00B482"/>
                </a:solidFill>
              </a:rPr>
              <a:t>Mehr Raum für Chirurgie</a:t>
            </a:r>
            <a:endParaRPr lang="de-DE" dirty="0">
              <a:solidFill>
                <a:srgbClr val="00B482"/>
              </a:solidFill>
            </a:endParaRPr>
          </a:p>
        </p:txBody>
      </p:sp>
      <p:sp>
        <p:nvSpPr>
          <p:cNvPr id="12" name="Textfeld 5"/>
          <p:cNvSpPr txBox="1">
            <a:spLocks noChangeArrowheads="1"/>
          </p:cNvSpPr>
          <p:nvPr/>
        </p:nvSpPr>
        <p:spPr bwMode="auto">
          <a:xfrm>
            <a:off x="8694266" y="1880802"/>
            <a:ext cx="3023893" cy="451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de-DE">
                <a:solidFill>
                  <a:srgbClr val="00B482"/>
                </a:solidFill>
              </a:rPr>
              <a:t>Exzellente Ergebnisse</a:t>
            </a:r>
            <a:endParaRPr lang="de-DE" dirty="0">
              <a:solidFill>
                <a:srgbClr val="00B482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863421" y="4341077"/>
            <a:ext cx="3360372" cy="1761760"/>
          </a:xfrm>
          <a:prstGeom prst="rect">
            <a:avLst/>
          </a:prstGeom>
        </p:spPr>
        <p:txBody>
          <a:bodyPr wrap="square" lIns="121917" tIns="60958" rIns="47999" bIns="60958">
            <a:spAutoFit/>
          </a:bodyPr>
          <a:lstStyle/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de-DE" sz="1900"/>
              <a:t>Intuitive Interaktion</a:t>
            </a:r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de-DE" sz="1900"/>
              <a:t>Smarte Instrumente</a:t>
            </a:r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de-DE" sz="1900"/>
              <a:t>Einfacher Software Workflow</a:t>
            </a:r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de-DE" sz="1900" dirty="0"/>
          </a:p>
        </p:txBody>
      </p:sp>
      <p:sp>
        <p:nvSpPr>
          <p:cNvPr id="15" name="Textfeld 14"/>
          <p:cNvSpPr txBox="1">
            <a:spLocks noChangeArrowheads="1"/>
          </p:cNvSpPr>
          <p:nvPr/>
        </p:nvSpPr>
        <p:spPr bwMode="auto">
          <a:xfrm>
            <a:off x="8704573" y="4341077"/>
            <a:ext cx="3224072" cy="1761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0" bIns="60958">
            <a:spAutoFit/>
          </a:bodyPr>
          <a:lstStyle/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de-DE" sz="1900"/>
              <a:t>Präzisere Ausrichtung</a:t>
            </a:r>
            <a:r>
              <a:rPr lang="de-DE" sz="1400" baseline="30000"/>
              <a:t>(13,14,15)</a:t>
            </a:r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de-DE" sz="1900"/>
              <a:t>Bessere Funktion</a:t>
            </a:r>
            <a:r>
              <a:rPr lang="de-DE" sz="1400" baseline="30000"/>
              <a:t>(16)</a:t>
            </a:r>
            <a:endParaRPr lang="de-DE" sz="1800" baseline="30000"/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de-DE" sz="1900"/>
              <a:t>Geringeres Revisionsrisiko</a:t>
            </a:r>
            <a:r>
              <a:rPr lang="de-DE" sz="1400" baseline="30000"/>
              <a:t>(12)</a:t>
            </a:r>
            <a:endParaRPr lang="de-DE" sz="1900" baseline="30000" dirty="0"/>
          </a:p>
        </p:txBody>
      </p:sp>
      <p:cxnSp>
        <p:nvCxnSpPr>
          <p:cNvPr id="20" name="Gerade Verbindung 19"/>
          <p:cNvCxnSpPr/>
          <p:nvPr/>
        </p:nvCxnSpPr>
        <p:spPr>
          <a:xfrm>
            <a:off x="4381743" y="1881188"/>
            <a:ext cx="0" cy="4211637"/>
          </a:xfrm>
          <a:prstGeom prst="line">
            <a:avLst/>
          </a:prstGeom>
          <a:ln>
            <a:solidFill>
              <a:srgbClr val="711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>
            <a:off x="8311255" y="1881188"/>
            <a:ext cx="0" cy="4211637"/>
          </a:xfrm>
          <a:prstGeom prst="line">
            <a:avLst/>
          </a:prstGeom>
          <a:ln>
            <a:solidFill>
              <a:srgbClr val="711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5C35F591-FF16-4783-9D30-E793CEC23C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69315" y="4341077"/>
            <a:ext cx="3460286" cy="3094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8" rIns="0" bIns="60958" anchor="t">
            <a:spAutoFit/>
          </a:bodyPr>
          <a:lstStyle/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de-DE" sz="1900"/>
              <a:t>Individuelle Alignment Strategie</a:t>
            </a:r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de-DE" sz="1900"/>
              <a:t>Reduktion der OP Dauer möglich</a:t>
            </a:r>
            <a:r>
              <a:rPr lang="de-DE" sz="1400" baseline="30000"/>
              <a:t>(11)</a:t>
            </a:r>
            <a:endParaRPr lang="de-DE" sz="1900" baseline="30000"/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de-DE" sz="1900"/>
              <a:t>Minimaler Platzbedarf</a:t>
            </a:r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de-DE" sz="1900"/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de-DE" sz="1900"/>
          </a:p>
          <a:p>
            <a:pPr>
              <a:lnSpc>
                <a:spcPct val="114000"/>
              </a:lnSpc>
            </a:pPr>
            <a:endParaRPr lang="de-DE" sz="1900"/>
          </a:p>
          <a:p>
            <a:pPr marL="342900" indent="-34290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de-DE" sz="1900" dirty="0"/>
          </a:p>
        </p:txBody>
      </p:sp>
      <p:pic>
        <p:nvPicPr>
          <p:cNvPr id="18" name="Grafik 17" descr="Ein Bild, das Person, Krankenhauszimmer, Raum enthält.&#10;&#10;Automatisch generierte Beschreibung">
            <a:extLst>
              <a:ext uri="{FF2B5EF4-FFF2-40B4-BE49-F238E27FC236}">
                <a16:creationId xmlns:a16="http://schemas.microsoft.com/office/drawing/2014/main" id="{DE86664C-EAC0-4EDF-8987-3425792749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3492" y="2564904"/>
            <a:ext cx="2422668" cy="16159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7B0E9A25-A492-4161-9E4E-DEFD9CADBF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5440" y="2348880"/>
            <a:ext cx="2305717" cy="188469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7889903B-34CA-4598-9EF8-B81FD90DE5AF}"/>
              </a:ext>
            </a:extLst>
          </p:cNvPr>
          <p:cNvSpPr txBox="1"/>
          <p:nvPr/>
        </p:nvSpPr>
        <p:spPr>
          <a:xfrm>
            <a:off x="4187795" y="6468906"/>
            <a:ext cx="6948765" cy="2512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11) Walde et al. 2005; 12) De Steiger et al. 2015; 13)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Bejek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et al. 2007; 14)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Blakeney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et al. 2015; 15) Zhang et al. 2016; 16)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Reba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et al. 2014</a:t>
            </a:r>
          </a:p>
          <a:p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5E93DD70-16B9-48D2-ABFF-E363F5E91E0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alphaModFix amt="14000"/>
          </a:blip>
          <a:srcRect r="4633"/>
          <a:stretch/>
        </p:blipFill>
        <p:spPr>
          <a:xfrm>
            <a:off x="6956698" y="587189"/>
            <a:ext cx="2340260" cy="5683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4666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009482F8-6331-4AC4-BBB2-C0F11ECBF4D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383"/>
          <a:stretch/>
        </p:blipFill>
        <p:spPr>
          <a:xfrm>
            <a:off x="0" y="-50312"/>
            <a:ext cx="12926992" cy="7422647"/>
          </a:xfrm>
          <a:prstGeom prst="rect">
            <a:avLst/>
          </a:prstGeom>
        </p:spPr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ADD1A38-E5E5-A6EA-E692-9B95C5CA61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964" y="4509120"/>
            <a:ext cx="4979876" cy="234888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" name="shpStaticClosingRemarks01"/>
          <p:cNvSpPr>
            <a:spLocks noGrp="1"/>
          </p:cNvSpPr>
          <p:nvPr>
            <p:ph type="ctrTitle"/>
          </p:nvPr>
        </p:nvSpPr>
        <p:spPr>
          <a:xfrm>
            <a:off x="808491" y="5278654"/>
            <a:ext cx="3778305" cy="1426710"/>
          </a:xfrm>
        </p:spPr>
        <p:txBody>
          <a:bodyPr>
            <a:noAutofit/>
          </a:bodyPr>
          <a:lstStyle/>
          <a:p>
            <a:r>
              <a:rPr lang="de-DE" dirty="0"/>
              <a:t>Vielen Dank 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61231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B. Braun Deutschland GmbH &amp; Co. KG </a:t>
            </a:r>
            <a:endParaRPr lang="de-DE" dirty="0">
              <a:latin typeface="Arial" pitchFamily="34" charset="0"/>
            </a:endParaRP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617B8B0-B4AD-A94B-AF7A-382461AC7EA9}"/>
              </a:ext>
            </a:extLst>
          </p:cNvPr>
          <p:cNvSpPr txBox="1"/>
          <p:nvPr/>
        </p:nvSpPr>
        <p:spPr>
          <a:xfrm>
            <a:off x="695400" y="2266997"/>
            <a:ext cx="8784976" cy="23255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220"/>
              </a:lnSpc>
            </a:pPr>
            <a:r>
              <a:rPr lang="de-DE" sz="1600" dirty="0">
                <a:ea typeface="Calibri" panose="020F0502020204030204"/>
                <a:cs typeface="Times New Roman" panose="02020603050405020304" pitchFamily="18" charset="0"/>
              </a:rPr>
              <a:t>Die in dieser Produktunterlage enthaltenen Angaben wurden sorgfältig geprüft. </a:t>
            </a:r>
            <a:br>
              <a:rPr lang="de-DE" sz="1600" dirty="0">
                <a:ea typeface="Calibri" panose="020F0502020204030204"/>
                <a:cs typeface="Times New Roman" panose="02020603050405020304" pitchFamily="18" charset="0"/>
              </a:rPr>
            </a:br>
            <a:r>
              <a:rPr lang="de-DE" sz="1600" dirty="0">
                <a:ea typeface="Calibri" panose="020F0502020204030204"/>
                <a:cs typeface="Times New Roman" panose="02020603050405020304" pitchFamily="18" charset="0"/>
              </a:rPr>
              <a:t>Dennoch kann die B. Braun Deutschland GmbH &amp; Co. KG keine Gewährleistung oder Garantie im Hinblick auf die Richtigkeit und Vollständigkeit der zur Verfügung gestellten oder in Bezug genommenen Informationen geben. </a:t>
            </a:r>
          </a:p>
          <a:p>
            <a:pPr>
              <a:lnSpc>
                <a:spcPts val="2220"/>
              </a:lnSpc>
            </a:pPr>
            <a:endParaRPr lang="de-DE" sz="1600" dirty="0">
              <a:ea typeface="Calibri" panose="020F0502020204030204"/>
              <a:cs typeface="Times New Roman" panose="02020603050405020304" pitchFamily="18" charset="0"/>
            </a:endParaRPr>
          </a:p>
          <a:p>
            <a:pPr>
              <a:lnSpc>
                <a:spcPts val="2220"/>
              </a:lnSpc>
            </a:pPr>
            <a:r>
              <a:rPr lang="de-DE" sz="1600" dirty="0">
                <a:ea typeface="Calibri" panose="020F0502020204030204"/>
                <a:cs typeface="Times New Roman" panose="02020603050405020304" pitchFamily="18" charset="0"/>
              </a:rPr>
              <a:t>Vor der Verwendung des Medizinproduktes / Arzneimittels sind in jedem Fall die Angaben in der jeweils gültigen Gebrauchsinformation oder Fachinformation zu beachten.</a:t>
            </a:r>
          </a:p>
          <a:p>
            <a:pPr>
              <a:lnSpc>
                <a:spcPts val="2220"/>
              </a:lnSpc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EA92671-E2E2-E437-8EBF-8419F45B699D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9E2AB5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rgbClr val="FFFFFF"/>
                </a:solidFill>
                <a:cs typeface="Arial" panose="020B0604020202020204" pitchFamily="34" charset="0"/>
              </a:rPr>
              <a:t>Wichtiger Hinwei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8368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B. Braun Deutschland GmbH &amp; Co. KG </a:t>
            </a:r>
            <a:endParaRPr lang="en-US">
              <a:latin typeface="Arial" pitchFamily="34" charset="0"/>
            </a:endParaRPr>
          </a:p>
        </p:txBody>
      </p:sp>
      <p:sp>
        <p:nvSpPr>
          <p:cNvPr id="19" name="Foliennummernplatzhalter 18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981D2A-10EE-45CA-B672-13EC15929D94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617B8B0-B4AD-A94B-AF7A-382461AC7EA9}"/>
              </a:ext>
            </a:extLst>
          </p:cNvPr>
          <p:cNvSpPr txBox="1"/>
          <p:nvPr/>
        </p:nvSpPr>
        <p:spPr>
          <a:xfrm>
            <a:off x="2999656" y="2027105"/>
            <a:ext cx="7890869" cy="1523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b="1" dirty="0"/>
              <a:t>Malte Wangerin</a:t>
            </a:r>
          </a:p>
          <a:p>
            <a:r>
              <a:rPr lang="de-DE" sz="1400" dirty="0"/>
              <a:t>Marketing Manager Endoprothetik</a:t>
            </a:r>
          </a:p>
          <a:p>
            <a:endParaRPr lang="de-DE" sz="900" dirty="0"/>
          </a:p>
          <a:p>
            <a:r>
              <a:rPr lang="nb-NO" sz="1400" dirty="0"/>
              <a:t>Telefon:  +49 171 2606564</a:t>
            </a:r>
          </a:p>
          <a:p>
            <a:r>
              <a:rPr lang="de-DE" sz="1400" dirty="0"/>
              <a:t>E-Mail:    </a:t>
            </a:r>
            <a:r>
              <a:rPr lang="de-DE" sz="1400" u="sng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lte.wangerin@bbraun.com</a:t>
            </a:r>
            <a:endParaRPr lang="de-DE" sz="1400" u="sng" dirty="0"/>
          </a:p>
          <a:p>
            <a:br>
              <a:rPr lang="de-DE" sz="1400" u="sng" dirty="0"/>
            </a:br>
            <a:endParaRPr lang="de-DE" sz="1400" u="sng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75068BA-AFF5-4CEA-4C61-5A193CAC7C82}"/>
              </a:ext>
            </a:extLst>
          </p:cNvPr>
          <p:cNvSpPr/>
          <p:nvPr/>
        </p:nvSpPr>
        <p:spPr bwMode="gray">
          <a:xfrm>
            <a:off x="803412" y="0"/>
            <a:ext cx="3636000" cy="349849"/>
          </a:xfrm>
          <a:prstGeom prst="rect">
            <a:avLst/>
          </a:prstGeom>
          <a:solidFill>
            <a:srgbClr val="00A97A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1172121">
              <a:defRPr/>
            </a:pPr>
            <a:r>
              <a:rPr lang="de-DE" sz="1800" dirty="0">
                <a:solidFill>
                  <a:schemeClr val="bg1"/>
                </a:solidFill>
                <a:cs typeface="Arial" panose="020B0604020202020204" pitchFamily="34" charset="0"/>
              </a:rPr>
              <a:t>Ansprechpartner*i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C29E83A-8E99-BB71-4E85-AC56FF5E64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31495" y="1628609"/>
            <a:ext cx="1828800" cy="1828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236538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platzhalter 3"/>
          <p:cNvSpPr txBox="1">
            <a:spLocks/>
          </p:cNvSpPr>
          <p:nvPr/>
        </p:nvSpPr>
        <p:spPr bwMode="gray">
          <a:xfrm>
            <a:off x="917061" y="2184877"/>
            <a:ext cx="3351576" cy="5002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Textplatzhalter 3"/>
          <p:cNvSpPr txBox="1">
            <a:spLocks/>
          </p:cNvSpPr>
          <p:nvPr/>
        </p:nvSpPr>
        <p:spPr bwMode="gray">
          <a:xfrm>
            <a:off x="803412" y="4013342"/>
            <a:ext cx="3717330" cy="5002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hre</a:t>
            </a:r>
            <a:r>
              <a:rPr kumimoji="0" lang="en-US" sz="1800" i="0" u="none" strike="noStrike" kern="1200" spc="0" normalizeH="0" baseline="0" noProof="0" dirty="0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00A97A"/>
                </a:solidFill>
                <a:latin typeface="Arial"/>
                <a:cs typeface="Arial" panose="020B0604020202020204" pitchFamily="34" charset="0"/>
              </a:rPr>
              <a:t>R</a:t>
            </a: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chte</a:t>
            </a:r>
            <a:endParaRPr kumimoji="0" lang="en-US" sz="1800" i="0" u="none" strike="noStrike" kern="1200" spc="0" normalizeH="0" baseline="0" noProof="0" dirty="0">
              <a:ln>
                <a:noFill/>
              </a:ln>
              <a:solidFill>
                <a:srgbClr val="00A97A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e können die Einwilligung zur Speicherung Ihrer Daten zu Werbe-zwecken jederzeit widerrufen und 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ben als Betroffener ein Recht 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f Auskunft, welche Daten wir von </a:t>
            </a:r>
            <a:b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nen erhoben haben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7" name="Gruppieren 36"/>
          <p:cNvGrpSpPr/>
          <p:nvPr/>
        </p:nvGrpSpPr>
        <p:grpSpPr>
          <a:xfrm>
            <a:off x="6528048" y="2288918"/>
            <a:ext cx="4867973" cy="935666"/>
            <a:chOff x="6927787" y="1539390"/>
            <a:chExt cx="4869100" cy="935883"/>
          </a:xfrm>
        </p:grpSpPr>
        <p:sp>
          <p:nvSpPr>
            <p:cNvPr id="38" name="Ellipse 6"/>
            <p:cNvSpPr>
              <a:spLocks noChangeAspect="1"/>
            </p:cNvSpPr>
            <p:nvPr/>
          </p:nvSpPr>
          <p:spPr bwMode="gray">
            <a:xfrm>
              <a:off x="6927787" y="1539390"/>
              <a:ext cx="935887" cy="935883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37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Textplatzhalter 3"/>
            <p:cNvSpPr txBox="1">
              <a:spLocks/>
            </p:cNvSpPr>
            <p:nvPr/>
          </p:nvSpPr>
          <p:spPr bwMode="gray">
            <a:xfrm>
              <a:off x="8233893" y="1757168"/>
              <a:ext cx="3562994" cy="500327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47" rtl="0" eaLnBrk="1" latinLnBrk="0" hangingPunct="1">
                <a:spcBef>
                  <a:spcPts val="526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57806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15612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73418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631224" indent="-157806" algn="l" defTabSz="914447" rtl="0" eaLnBrk="1" latinLnBrk="0" hangingPunct="1">
                <a:spcBef>
                  <a:spcPts val="526"/>
                </a:spcBef>
                <a:buClr>
                  <a:schemeClr val="bg2"/>
                </a:buClr>
                <a:buFont typeface="Symbol" panose="05050102010706020507" pitchFamily="18" charset="2"/>
                <a:buChar char="-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47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i="0" u="none" strike="noStrike" kern="1200" spc="0" normalizeH="0" baseline="0" noProof="0" dirty="0" err="1">
                  <a:ln>
                    <a:noFill/>
                  </a:ln>
                  <a:solidFill>
                    <a:srgbClr val="00A97A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Zweck</a:t>
              </a:r>
              <a:r>
                <a:rPr kumimoji="0" lang="en-US" sz="1800" i="0" u="none" strike="noStrike" kern="1200" spc="0" normalizeH="0" baseline="0" noProof="0" dirty="0">
                  <a:ln>
                    <a:noFill/>
                  </a:ln>
                  <a:solidFill>
                    <a:srgbClr val="00A97A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der </a:t>
              </a:r>
              <a:r>
                <a:rPr lang="en-US" sz="1800" dirty="0">
                  <a:solidFill>
                    <a:srgbClr val="00A97A"/>
                  </a:solidFill>
                  <a:latin typeface="Arial"/>
                  <a:cs typeface="Arial" panose="020B0604020202020204" pitchFamily="34" charset="0"/>
                </a:rPr>
                <a:t>V</a:t>
              </a:r>
              <a:r>
                <a:rPr kumimoji="0" lang="en-US" sz="1800" i="0" u="none" strike="noStrike" kern="1200" spc="0" normalizeH="0" baseline="0" noProof="0" dirty="0" err="1">
                  <a:ln>
                    <a:noFill/>
                  </a:ln>
                  <a:solidFill>
                    <a:srgbClr val="00A97A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rarbeitung</a:t>
              </a:r>
              <a:endParaRPr lang="en-US" sz="1800" dirty="0">
                <a:solidFill>
                  <a:srgbClr val="00A97A"/>
                </a:solidFill>
                <a:latin typeface="Arial"/>
                <a:cs typeface="Arial" panose="020B0604020202020204" pitchFamily="34" charset="0"/>
              </a:endParaRPr>
            </a:p>
            <a:p>
              <a:pPr marL="0" marR="0" lvl="0" indent="0" algn="l" defTabSz="914447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hre Daten werden ausschließlich zur Dokumentation des Schulungsnachweises und der Zertifikatserstellung genutzt. </a:t>
              </a:r>
              <a:b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ine Weitergabe Ihrer Daten </a:t>
              </a:r>
              <a:b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</a:b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n Dritte erfolgt nicht. </a:t>
              </a:r>
            </a:p>
          </p:txBody>
        </p:sp>
      </p:grpSp>
      <p:sp>
        <p:nvSpPr>
          <p:cNvPr id="40" name="Textplatzhalter 3"/>
          <p:cNvSpPr txBox="1">
            <a:spLocks/>
          </p:cNvSpPr>
          <p:nvPr/>
        </p:nvSpPr>
        <p:spPr bwMode="gray">
          <a:xfrm>
            <a:off x="7824192" y="3922775"/>
            <a:ext cx="3822430" cy="5002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7" rtl="0" eaLnBrk="1" latinLnBrk="0" hangingPunct="1">
              <a:spcBef>
                <a:spcPts val="526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7806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5612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418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31224" indent="-157806" algn="l" defTabSz="914447" rtl="0" eaLnBrk="1" latinLnBrk="0" hangingPunct="1">
              <a:spcBef>
                <a:spcPts val="526"/>
              </a:spcBef>
              <a:buClr>
                <a:schemeClr val="bg2"/>
              </a:buClr>
              <a:buFont typeface="Symbol" panose="05050102010706020507" pitchFamily="18" charset="2"/>
              <a:buChar char="-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hr</a:t>
            </a:r>
            <a:r>
              <a:rPr kumimoji="0" lang="en-US" sz="1800" i="0" u="none" strike="noStrike" kern="1200" spc="0" normalizeH="0" baseline="0" noProof="0" dirty="0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00A97A"/>
                </a:solidFill>
                <a:latin typeface="Arial"/>
                <a:cs typeface="Arial" panose="020B0604020202020204" pitchFamily="34" charset="0"/>
              </a:rPr>
              <a:t>A</a:t>
            </a: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sprechpartner</a:t>
            </a:r>
            <a:endParaRPr kumimoji="0" lang="en-US" sz="1800" i="0" u="none" strike="noStrike" kern="1200" spc="0" normalizeH="0" baseline="0" noProof="0" dirty="0">
              <a:ln>
                <a:noFill/>
              </a:ln>
              <a:solidFill>
                <a:srgbClr val="00A97A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47" rtl="0" eaLnBrk="1" fontAlgn="auto" latinLnBrk="0" hangingPunct="1">
              <a:lnSpc>
                <a:spcPct val="100000"/>
              </a:lnSpc>
              <a:spcBef>
                <a:spcPts val="52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nden Sie sich bitte unter der Angabe Ihrer Adresse per E-Mail an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tenschutz-mv@bbraun.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itere Informationen zum Datenschutz finden Sie auf unserer Webseite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braun.de/dsgvo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1" name="Gruppieren 40"/>
          <p:cNvGrpSpPr/>
          <p:nvPr/>
        </p:nvGrpSpPr>
        <p:grpSpPr>
          <a:xfrm>
            <a:off x="5591254" y="2830817"/>
            <a:ext cx="180710" cy="330333"/>
            <a:chOff x="7639482" y="1832465"/>
            <a:chExt cx="229808" cy="420082"/>
          </a:xfrm>
        </p:grpSpPr>
        <p:sp>
          <p:nvSpPr>
            <p:cNvPr id="42" name="Freeform 59"/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solidFill>
              <a:srgbClr val="00B482"/>
            </a:solidFill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Freeform 59"/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solidFill>
              <a:srgbClr val="00B482"/>
            </a:solidFill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0" name="Gruppieren 49"/>
          <p:cNvGrpSpPr/>
          <p:nvPr/>
        </p:nvGrpSpPr>
        <p:grpSpPr>
          <a:xfrm flipH="1">
            <a:off x="6369335" y="2606453"/>
            <a:ext cx="180710" cy="330333"/>
            <a:chOff x="7639482" y="1832465"/>
            <a:chExt cx="229808" cy="420082"/>
          </a:xfrm>
          <a:solidFill>
            <a:srgbClr val="00A97A"/>
          </a:solidFill>
        </p:grpSpPr>
        <p:sp>
          <p:nvSpPr>
            <p:cNvPr id="51" name="Freeform 59"/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2" name="Freeform 59"/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3" name="Muenchen PKT"/>
          <p:cNvSpPr/>
          <p:nvPr/>
        </p:nvSpPr>
        <p:spPr bwMode="gray">
          <a:xfrm>
            <a:off x="6178345" y="1766858"/>
            <a:ext cx="107975" cy="107975"/>
          </a:xfrm>
          <a:prstGeom prst="diamond">
            <a:avLst/>
          </a:prstGeom>
          <a:solidFill>
            <a:srgbClr val="FFFFFF"/>
          </a:solidFill>
          <a:ln w="3175" cap="flat" cmpd="sng" algn="ctr">
            <a:solidFill>
              <a:srgbClr val="FFFFFF"/>
            </a:solidFill>
            <a:prstDash val="solid"/>
          </a:ln>
          <a:effectLst/>
        </p:spPr>
        <p:txBody>
          <a:bodyPr lIns="91401" tIns="45707" rIns="91401" bIns="45707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>
                <a:solidFill>
                  <a:schemeClr val="tx1"/>
                </a:solidFill>
              </a:rPr>
              <a:t>Datenschutz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ist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uns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  <a:r>
              <a:rPr lang="en-US" sz="2800" dirty="0" err="1">
                <a:solidFill>
                  <a:schemeClr val="tx1"/>
                </a:solidFill>
              </a:rPr>
              <a:t>wichtig</a:t>
            </a:r>
            <a:r>
              <a:rPr lang="en-US" sz="2800" dirty="0">
                <a:solidFill>
                  <a:schemeClr val="tx1"/>
                </a:solidFill>
              </a:rPr>
              <a:t>!</a:t>
            </a:r>
            <a:endParaRPr lang="de-DE" sz="2800" dirty="0">
              <a:solidFill>
                <a:schemeClr val="tx1"/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715960" y="2061939"/>
            <a:ext cx="4011888" cy="1638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spc="0" normalizeH="0" baseline="0" noProof="0" dirty="0" err="1">
                <a:ln>
                  <a:noFill/>
                </a:ln>
                <a:solidFill>
                  <a:srgbClr val="00A97A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Vertrauen</a:t>
            </a:r>
            <a:endParaRPr lang="en-US" sz="1800" dirty="0">
              <a:solidFill>
                <a:srgbClr val="00A97A"/>
              </a:solidFill>
              <a:latin typeface="Arial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r setzen auf eine vertrauensvolle Kooperation mit Ihnen und achten besonders auf einen verantwortungs-bewussten Umgang mit Ihren personenbezogenen Daten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3FE60CC-E334-4DB2-805D-C280D411234C}"/>
              </a:ext>
            </a:extLst>
          </p:cNvPr>
          <p:cNvGrpSpPr/>
          <p:nvPr/>
        </p:nvGrpSpPr>
        <p:grpSpPr>
          <a:xfrm flipH="1">
            <a:off x="6399391" y="4466819"/>
            <a:ext cx="180710" cy="330333"/>
            <a:chOff x="7639482" y="1832465"/>
            <a:chExt cx="229808" cy="420082"/>
          </a:xfrm>
          <a:solidFill>
            <a:srgbClr val="00A97A"/>
          </a:solidFill>
        </p:grpSpPr>
        <p:sp>
          <p:nvSpPr>
            <p:cNvPr id="29" name="Freeform 59">
              <a:extLst>
                <a:ext uri="{FF2B5EF4-FFF2-40B4-BE49-F238E27FC236}">
                  <a16:creationId xmlns:a16="http://schemas.microsoft.com/office/drawing/2014/main" id="{79B55725-FCB9-4098-9B86-CC27A6B85FBC}"/>
                </a:ext>
              </a:extLst>
            </p:cNvPr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Freeform 59">
              <a:extLst>
                <a:ext uri="{FF2B5EF4-FFF2-40B4-BE49-F238E27FC236}">
                  <a16:creationId xmlns:a16="http://schemas.microsoft.com/office/drawing/2014/main" id="{9E971C1C-D0F2-4479-A75E-B43F8BBCE9F6}"/>
                </a:ext>
              </a:extLst>
            </p:cNvPr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133F4AE2-E99C-4611-80DF-835E580579BE}"/>
              </a:ext>
            </a:extLst>
          </p:cNvPr>
          <p:cNvGrpSpPr/>
          <p:nvPr/>
        </p:nvGrpSpPr>
        <p:grpSpPr>
          <a:xfrm>
            <a:off x="5591254" y="4862863"/>
            <a:ext cx="166837" cy="330333"/>
            <a:chOff x="7639482" y="1832465"/>
            <a:chExt cx="229808" cy="420082"/>
          </a:xfrm>
          <a:solidFill>
            <a:srgbClr val="00A97A"/>
          </a:solidFill>
        </p:grpSpPr>
        <p:sp>
          <p:nvSpPr>
            <p:cNvPr id="55" name="Freeform 59">
              <a:extLst>
                <a:ext uri="{FF2B5EF4-FFF2-40B4-BE49-F238E27FC236}">
                  <a16:creationId xmlns:a16="http://schemas.microsoft.com/office/drawing/2014/main" id="{F2B44A50-D4A7-4427-B7C0-0389AC0108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639482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6" name="Freeform 59">
              <a:extLst>
                <a:ext uri="{FF2B5EF4-FFF2-40B4-BE49-F238E27FC236}">
                  <a16:creationId xmlns:a16="http://schemas.microsoft.com/office/drawing/2014/main" id="{B4DE8E10-D4CF-4B3F-AAAB-8FD449EA2C15}"/>
                </a:ext>
              </a:extLst>
            </p:cNvPr>
            <p:cNvSpPr>
              <a:spLocks/>
            </p:cNvSpPr>
            <p:nvPr/>
          </p:nvSpPr>
          <p:spPr bwMode="gray">
            <a:xfrm>
              <a:off x="7732521" y="1832465"/>
              <a:ext cx="136769" cy="420082"/>
            </a:xfrm>
            <a:prstGeom prst="chevron">
              <a:avLst>
                <a:gd name="adj" fmla="val 84727"/>
              </a:avLst>
            </a:prstGeom>
            <a:grpFill/>
            <a:ln>
              <a:noFill/>
            </a:ln>
          </p:spPr>
          <p:txBody>
            <a:bodyPr vert="horz" wrap="square" lIns="91365" tIns="45691" rIns="91365" bIns="45691" numCol="1" anchor="t" anchorCtr="0" compatLnSpc="1">
              <a:prstTxWarp prst="textNoShape">
                <a:avLst/>
              </a:prstTxWarp>
            </a:bodyPr>
            <a:lstStyle>
              <a:defPPr>
                <a:defRPr lang="sv-S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5453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1090605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63590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218121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726512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3271815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817117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4362420" algn="l" defTabSz="1090605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F4F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57" name="Grafik 56">
            <a:extLst>
              <a:ext uri="{FF2B5EF4-FFF2-40B4-BE49-F238E27FC236}">
                <a16:creationId xmlns:a16="http://schemas.microsoft.com/office/drawing/2014/main" id="{CE6D6745-B202-41FB-9A0D-8000C1B78B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15999" y="2319577"/>
            <a:ext cx="1342800" cy="13428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00FEF1EF-B0C9-F8F2-A237-08B6C7FB40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69980" y="3933056"/>
            <a:ext cx="1346200" cy="13462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FDBD54F-AF64-E7E1-9E3C-8E5DEF7CAC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24999" y="4305145"/>
            <a:ext cx="1342800" cy="13428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B4F4E71-21EC-8FD1-53BC-06A295289E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312024" y="2011988"/>
            <a:ext cx="1346200" cy="1346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761348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BA6433-6F4D-45A3-BEBE-359F35F25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teraturverzeichnis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3442A8C-52B6-48B0-9ECA-0053913B5A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6074" y="1844824"/>
            <a:ext cx="10798539" cy="4320184"/>
          </a:xfrm>
        </p:spPr>
        <p:txBody>
          <a:bodyPr/>
          <a:lstStyle/>
          <a:p>
            <a:pPr marL="342900" indent="-342900">
              <a:buSzPct val="100000"/>
              <a:buFont typeface="+mj-lt"/>
              <a:buAutoNum type="arabicPeriod"/>
            </a:pPr>
            <a:r>
              <a:rPr lang="en-US" sz="1050" dirty="0" err="1">
                <a:latin typeface="+mn-lt"/>
              </a:rPr>
              <a:t>Morrat</a:t>
            </a:r>
            <a:r>
              <a:rPr lang="en-US" sz="1050" dirty="0">
                <a:latin typeface="+mn-lt"/>
              </a:rPr>
              <a:t> E, Greenwald A. Polymer Insert Stress in Total Knee Designs During High-Flexion Activities: A Finite Element Study. Journal of Bone &amp; Joint Surgery. 2005 Dez; 87(2):120-124.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50" dirty="0">
                <a:latin typeface="+mn-lt"/>
              </a:rPr>
              <a:t>Grupp TM, Schroeder C, </a:t>
            </a:r>
            <a:r>
              <a:rPr lang="de-DE" sz="1050" dirty="0" err="1">
                <a:latin typeface="+mn-lt"/>
              </a:rPr>
              <a:t>Kyun</a:t>
            </a:r>
            <a:r>
              <a:rPr lang="de-DE" sz="1050" dirty="0">
                <a:latin typeface="+mn-lt"/>
              </a:rPr>
              <a:t> Kim T, </a:t>
            </a:r>
            <a:r>
              <a:rPr lang="de-DE" sz="1050" dirty="0" err="1">
                <a:latin typeface="+mn-lt"/>
              </a:rPr>
              <a:t>Miehlke</a:t>
            </a:r>
            <a:r>
              <a:rPr lang="de-DE" sz="1050" dirty="0">
                <a:latin typeface="+mn-lt"/>
              </a:rPr>
              <a:t> RK, Fritz B, Jansson V, </a:t>
            </a:r>
            <a:r>
              <a:rPr lang="de-DE" sz="1050" dirty="0" err="1">
                <a:latin typeface="+mn-lt"/>
              </a:rPr>
              <a:t>Utzschneider</a:t>
            </a:r>
            <a:r>
              <a:rPr lang="de-DE" sz="1050" dirty="0">
                <a:latin typeface="+mn-lt"/>
              </a:rPr>
              <a:t> S. </a:t>
            </a:r>
            <a:r>
              <a:rPr lang="de-DE" sz="1050" dirty="0" err="1">
                <a:latin typeface="+mn-lt"/>
              </a:rPr>
              <a:t>Biotribology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of</a:t>
            </a:r>
            <a:r>
              <a:rPr lang="de-DE" sz="1050" dirty="0">
                <a:latin typeface="+mn-lt"/>
              </a:rPr>
              <a:t> a mobile </a:t>
            </a:r>
            <a:r>
              <a:rPr lang="de-DE" sz="1050" dirty="0" err="1">
                <a:latin typeface="+mn-lt"/>
              </a:rPr>
              <a:t>bearing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posterior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stabilised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knee</a:t>
            </a:r>
            <a:r>
              <a:rPr lang="de-DE" sz="1050" dirty="0">
                <a:latin typeface="+mn-lt"/>
              </a:rPr>
              <a:t> design--</a:t>
            </a:r>
            <a:r>
              <a:rPr lang="de-DE" sz="1050" dirty="0" err="1">
                <a:latin typeface="+mn-lt"/>
              </a:rPr>
              <a:t>effect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of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motion</a:t>
            </a:r>
            <a:r>
              <a:rPr lang="de-DE" sz="1050" dirty="0">
                <a:latin typeface="+mn-lt"/>
              </a:rPr>
              <a:t> restraint on </a:t>
            </a:r>
            <a:r>
              <a:rPr lang="de-DE" sz="1050" dirty="0" err="1">
                <a:latin typeface="+mn-lt"/>
              </a:rPr>
              <a:t>wear</a:t>
            </a:r>
            <a:r>
              <a:rPr lang="de-DE" sz="1050" dirty="0">
                <a:latin typeface="+mn-lt"/>
              </a:rPr>
              <a:t>, </a:t>
            </a:r>
            <a:r>
              <a:rPr lang="de-DE" sz="1050" dirty="0" err="1">
                <a:latin typeface="+mn-lt"/>
              </a:rPr>
              <a:t>tibio</a:t>
            </a:r>
            <a:r>
              <a:rPr lang="de-DE" sz="1050" dirty="0">
                <a:latin typeface="+mn-lt"/>
              </a:rPr>
              <a:t>-femoral </a:t>
            </a:r>
            <a:r>
              <a:rPr lang="de-DE" sz="1050" dirty="0" err="1">
                <a:latin typeface="+mn-lt"/>
              </a:rPr>
              <a:t>kinematics</a:t>
            </a:r>
            <a:r>
              <a:rPr lang="de-DE" sz="1050" dirty="0">
                <a:latin typeface="+mn-lt"/>
              </a:rPr>
              <a:t> and </a:t>
            </a:r>
            <a:r>
              <a:rPr lang="de-DE" sz="1050" dirty="0" err="1">
                <a:latin typeface="+mn-lt"/>
              </a:rPr>
              <a:t>particles</a:t>
            </a:r>
            <a:r>
              <a:rPr lang="de-DE" sz="1050" dirty="0">
                <a:latin typeface="+mn-lt"/>
              </a:rPr>
              <a:t>. J </a:t>
            </a:r>
            <a:r>
              <a:rPr lang="de-DE" sz="1050" dirty="0" err="1">
                <a:latin typeface="+mn-lt"/>
              </a:rPr>
              <a:t>Biomech</a:t>
            </a:r>
            <a:r>
              <a:rPr lang="de-DE" sz="1050" dirty="0">
                <a:latin typeface="+mn-lt"/>
              </a:rPr>
              <a:t>. 2014 Jul 18;47(10):2415-23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50" dirty="0">
                <a:latin typeface="+mn-lt"/>
              </a:rPr>
              <a:t>Reich J, </a:t>
            </a:r>
            <a:r>
              <a:rPr lang="de-DE" sz="1050" dirty="0" err="1">
                <a:latin typeface="+mn-lt"/>
              </a:rPr>
              <a:t>Hovy</a:t>
            </a:r>
            <a:r>
              <a:rPr lang="de-DE" sz="1050" dirty="0">
                <a:latin typeface="+mn-lt"/>
              </a:rPr>
              <a:t> L, </a:t>
            </a:r>
            <a:r>
              <a:rPr lang="de-DE" sz="1050" dirty="0" err="1">
                <a:latin typeface="+mn-lt"/>
              </a:rPr>
              <a:t>Lindenmaier</a:t>
            </a:r>
            <a:r>
              <a:rPr lang="de-DE" sz="1050" dirty="0">
                <a:latin typeface="+mn-lt"/>
              </a:rPr>
              <a:t> HL, Zeller R, </a:t>
            </a:r>
            <a:r>
              <a:rPr lang="de-DE" sz="1050" dirty="0" err="1">
                <a:latin typeface="+mn-lt"/>
              </a:rPr>
              <a:t>Schwiesau</a:t>
            </a:r>
            <a:r>
              <a:rPr lang="de-DE" sz="1050" dirty="0">
                <a:latin typeface="+mn-lt"/>
              </a:rPr>
              <a:t> J, Thomas P, Grupp TM. </a:t>
            </a:r>
            <a:r>
              <a:rPr lang="de-DE" sz="1050" dirty="0" err="1">
                <a:latin typeface="+mn-lt"/>
              </a:rPr>
              <a:t>Preclinical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evaluation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of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coated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knee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implants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for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allergic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patients</a:t>
            </a:r>
            <a:r>
              <a:rPr lang="de-DE" sz="1050" dirty="0">
                <a:latin typeface="+mn-lt"/>
              </a:rPr>
              <a:t>. Orthopäde. 2010 May; 39 (5): 495-502</a:t>
            </a:r>
            <a:endParaRPr lang="en-US" sz="1050" dirty="0">
              <a:latin typeface="+mn-lt"/>
            </a:endParaRP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50" dirty="0">
                <a:latin typeface="+mn-lt"/>
              </a:rPr>
              <a:t>Grupp TM, Saleh KJ, </a:t>
            </a:r>
            <a:r>
              <a:rPr lang="de-DE" sz="1050" dirty="0" err="1">
                <a:latin typeface="+mn-lt"/>
              </a:rPr>
              <a:t>Mihalko</a:t>
            </a:r>
            <a:r>
              <a:rPr lang="de-DE" sz="1050" dirty="0">
                <a:latin typeface="+mn-lt"/>
              </a:rPr>
              <a:t> WM, </a:t>
            </a:r>
            <a:r>
              <a:rPr lang="de-DE" sz="1050" dirty="0" err="1">
                <a:latin typeface="+mn-lt"/>
              </a:rPr>
              <a:t>Hintner</a:t>
            </a:r>
            <a:r>
              <a:rPr lang="de-DE" sz="1050" dirty="0">
                <a:latin typeface="+mn-lt"/>
              </a:rPr>
              <a:t> M, Fritz B, Schilling C, </a:t>
            </a:r>
            <a:r>
              <a:rPr lang="de-DE" sz="1050" dirty="0" err="1">
                <a:latin typeface="+mn-lt"/>
              </a:rPr>
              <a:t>Schwiesau</a:t>
            </a:r>
            <a:r>
              <a:rPr lang="de-DE" sz="1050" dirty="0">
                <a:latin typeface="+mn-lt"/>
              </a:rPr>
              <a:t> J, </a:t>
            </a:r>
            <a:r>
              <a:rPr lang="de-DE" sz="1050" dirty="0" err="1">
                <a:latin typeface="+mn-lt"/>
              </a:rPr>
              <a:t>Kaddick</a:t>
            </a:r>
            <a:r>
              <a:rPr lang="de-DE" sz="1050" dirty="0">
                <a:latin typeface="+mn-lt"/>
              </a:rPr>
              <a:t> C. </a:t>
            </a:r>
            <a:r>
              <a:rPr lang="de-DE" sz="1050" dirty="0" err="1">
                <a:latin typeface="+mn-lt"/>
              </a:rPr>
              <a:t>Effect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of</a:t>
            </a:r>
            <a:r>
              <a:rPr lang="de-DE" sz="1050" dirty="0">
                <a:latin typeface="+mn-lt"/>
              </a:rPr>
              <a:t> anterior-</a:t>
            </a:r>
            <a:r>
              <a:rPr lang="de-DE" sz="1050" dirty="0" err="1">
                <a:latin typeface="+mn-lt"/>
              </a:rPr>
              <a:t>posterior</a:t>
            </a:r>
            <a:r>
              <a:rPr lang="de-DE" sz="1050" dirty="0">
                <a:latin typeface="+mn-lt"/>
              </a:rPr>
              <a:t> and internal-external </a:t>
            </a:r>
            <a:r>
              <a:rPr lang="de-DE" sz="1050" dirty="0" err="1">
                <a:latin typeface="+mn-lt"/>
              </a:rPr>
              <a:t>motion</a:t>
            </a:r>
            <a:r>
              <a:rPr lang="de-DE" sz="1050" dirty="0">
                <a:latin typeface="+mn-lt"/>
              </a:rPr>
              <a:t> restraint </a:t>
            </a:r>
            <a:r>
              <a:rPr lang="de-DE" sz="1050" dirty="0" err="1">
                <a:latin typeface="+mn-lt"/>
              </a:rPr>
              <a:t>during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knee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wear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simulation</a:t>
            </a:r>
            <a:r>
              <a:rPr lang="de-DE" sz="1050" dirty="0">
                <a:latin typeface="+mn-lt"/>
              </a:rPr>
              <a:t> on a </a:t>
            </a:r>
            <a:r>
              <a:rPr lang="de-DE" sz="1050" dirty="0" err="1">
                <a:latin typeface="+mn-lt"/>
              </a:rPr>
              <a:t>posterior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stabilised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knee</a:t>
            </a:r>
            <a:r>
              <a:rPr lang="de-DE" sz="1050" dirty="0">
                <a:latin typeface="+mn-lt"/>
              </a:rPr>
              <a:t> design. J </a:t>
            </a:r>
            <a:r>
              <a:rPr lang="de-DE" sz="1050" dirty="0" err="1">
                <a:latin typeface="+mn-lt"/>
              </a:rPr>
              <a:t>Biomech</a:t>
            </a:r>
            <a:r>
              <a:rPr lang="de-DE" sz="1050" dirty="0">
                <a:latin typeface="+mn-lt"/>
              </a:rPr>
              <a:t>. 2013 Feb 1;46(3):491-7.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50" dirty="0">
                <a:latin typeface="+mn-lt"/>
              </a:rPr>
              <a:t>Pilz M, Staats K, </a:t>
            </a:r>
            <a:r>
              <a:rPr lang="de-DE" sz="1050" dirty="0" err="1">
                <a:latin typeface="+mn-lt"/>
              </a:rPr>
              <a:t>Tobudic</a:t>
            </a:r>
            <a:r>
              <a:rPr lang="de-DE" sz="1050" dirty="0">
                <a:latin typeface="+mn-lt"/>
              </a:rPr>
              <a:t> S, </a:t>
            </a:r>
            <a:r>
              <a:rPr lang="de-DE" sz="1050" dirty="0" err="1">
                <a:latin typeface="+mn-lt"/>
              </a:rPr>
              <a:t>Assadian</a:t>
            </a:r>
            <a:r>
              <a:rPr lang="de-DE" sz="1050" dirty="0">
                <a:latin typeface="+mn-lt"/>
              </a:rPr>
              <a:t> O, </a:t>
            </a:r>
            <a:r>
              <a:rPr lang="de-DE" sz="1050" dirty="0" err="1">
                <a:latin typeface="+mn-lt"/>
              </a:rPr>
              <a:t>Presterl</a:t>
            </a:r>
            <a:r>
              <a:rPr lang="de-DE" sz="1050" dirty="0">
                <a:latin typeface="+mn-lt"/>
              </a:rPr>
              <a:t> E, Windhager R, </a:t>
            </a:r>
            <a:r>
              <a:rPr lang="de-DE" sz="1050" dirty="0" err="1">
                <a:latin typeface="+mn-lt"/>
              </a:rPr>
              <a:t>Holinka</a:t>
            </a:r>
            <a:r>
              <a:rPr lang="de-DE" sz="1050" dirty="0">
                <a:latin typeface="+mn-lt"/>
              </a:rPr>
              <a:t> J. Zirconium Nitride Coating </a:t>
            </a:r>
            <a:r>
              <a:rPr lang="de-DE" sz="1050" dirty="0" err="1">
                <a:latin typeface="+mn-lt"/>
              </a:rPr>
              <a:t>Reduced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Staphylococcus</a:t>
            </a:r>
            <a:r>
              <a:rPr lang="de-DE" sz="1050" dirty="0">
                <a:latin typeface="+mn-lt"/>
              </a:rPr>
              <a:t> epidermidis Biofilm Formation on </a:t>
            </a:r>
            <a:r>
              <a:rPr lang="de-DE" sz="1050" dirty="0" err="1">
                <a:latin typeface="+mn-lt"/>
              </a:rPr>
              <a:t>Orthopaedic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Implant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Surfaces</a:t>
            </a:r>
            <a:r>
              <a:rPr lang="de-DE" sz="1050" dirty="0">
                <a:latin typeface="+mn-lt"/>
              </a:rPr>
              <a:t>: An In Vitro Study. </a:t>
            </a:r>
            <a:r>
              <a:rPr lang="de-DE" sz="1050" dirty="0" err="1">
                <a:latin typeface="+mn-lt"/>
              </a:rPr>
              <a:t>Clin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Orthop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Relat</a:t>
            </a:r>
            <a:r>
              <a:rPr lang="de-DE" sz="1050" dirty="0">
                <a:latin typeface="+mn-lt"/>
              </a:rPr>
              <a:t> Res. 2019 Feb;477(2):461-466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en-US" sz="1050" dirty="0">
                <a:latin typeface="+mn-lt"/>
              </a:rPr>
              <a:t>Beyer F, </a:t>
            </a:r>
            <a:r>
              <a:rPr lang="en-US" sz="1050" dirty="0" err="1">
                <a:latin typeface="+mn-lt"/>
              </a:rPr>
              <a:t>Lützner</a:t>
            </a:r>
            <a:r>
              <a:rPr lang="en-US" sz="1050" dirty="0">
                <a:latin typeface="+mn-lt"/>
              </a:rPr>
              <a:t> C, Kirschner S, </a:t>
            </a:r>
            <a:r>
              <a:rPr lang="en-US" sz="1050" dirty="0" err="1">
                <a:latin typeface="+mn-lt"/>
              </a:rPr>
              <a:t>Lützner</a:t>
            </a:r>
            <a:r>
              <a:rPr lang="en-US" sz="1050" dirty="0">
                <a:latin typeface="+mn-lt"/>
              </a:rPr>
              <a:t> J. Midterm Results After Coated and Uncoated TKA: A Randomized Controlled Study. Orthopedics. 2016 May; 39 (3 Suppl): S13-7.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en-US" sz="1050" dirty="0">
                <a:latin typeface="+mn-lt"/>
              </a:rPr>
              <a:t>National Joint Registry. 17 Annual Report 2020, </a:t>
            </a:r>
            <a:r>
              <a:rPr lang="en-US" sz="1050" dirty="0"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reports.njrcentre.org.uk</a:t>
            </a:r>
            <a:endParaRPr lang="en-US" sz="1050" dirty="0">
              <a:latin typeface="+mn-lt"/>
            </a:endParaRP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en-US" sz="1050" dirty="0" err="1">
                <a:latin typeface="+mn-lt"/>
              </a:rPr>
              <a:t>Grimberg</a:t>
            </a:r>
            <a:r>
              <a:rPr lang="en-US" sz="1050" dirty="0">
                <a:latin typeface="+mn-lt"/>
              </a:rPr>
              <a:t> A, G</a:t>
            </a:r>
            <a:r>
              <a:rPr lang="sv-SE" sz="1050" dirty="0">
                <a:latin typeface="+mn-lt"/>
              </a:rPr>
              <a:t>rupp T, Elliott J, </a:t>
            </a:r>
            <a:r>
              <a:rPr lang="de-DE" sz="1050" dirty="0">
                <a:latin typeface="+mn-lt"/>
              </a:rPr>
              <a:t>Melsheimer O, Jansson V, Steinbrück A.</a:t>
            </a:r>
            <a:r>
              <a:rPr lang="en-US" sz="1050" dirty="0">
                <a:latin typeface="+mn-lt"/>
              </a:rPr>
              <a:t> Ceramic Coating in Cemented Primary Total Knee Arthroplasty is Not Associated With Decreased Risk of Revision due to Early </a:t>
            </a:r>
            <a:r>
              <a:rPr lang="de-DE" sz="1050" dirty="0" err="1">
                <a:latin typeface="+mn-lt"/>
              </a:rPr>
              <a:t>Prosthetic</a:t>
            </a:r>
            <a:r>
              <a:rPr lang="de-DE" sz="1050" dirty="0">
                <a:latin typeface="+mn-lt"/>
              </a:rPr>
              <a:t> Joint </a:t>
            </a:r>
            <a:r>
              <a:rPr lang="de-DE" sz="1050" dirty="0" err="1">
                <a:latin typeface="+mn-lt"/>
              </a:rPr>
              <a:t>Infection</a:t>
            </a:r>
            <a:r>
              <a:rPr lang="de-DE" sz="1050" dirty="0">
                <a:latin typeface="+mn-lt"/>
              </a:rPr>
              <a:t>. The Journal </a:t>
            </a:r>
            <a:r>
              <a:rPr lang="de-DE" sz="1050" dirty="0" err="1">
                <a:latin typeface="+mn-lt"/>
              </a:rPr>
              <a:t>of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Arthroplasty</a:t>
            </a:r>
            <a:r>
              <a:rPr lang="de-DE" sz="1050" dirty="0">
                <a:latin typeface="+mn-lt"/>
              </a:rPr>
              <a:t> 2020; 36: 991-7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50" dirty="0">
                <a:latin typeface="+mn-lt"/>
              </a:rPr>
              <a:t>Walde TA, Burgdorf D, Walde HJ. </a:t>
            </a:r>
            <a:r>
              <a:rPr lang="de-DE" sz="1050" dirty="0" err="1">
                <a:latin typeface="+mn-lt"/>
              </a:rPr>
              <a:t>Process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optimization</a:t>
            </a:r>
            <a:r>
              <a:rPr lang="de-DE" sz="1050" dirty="0">
                <a:latin typeface="+mn-lt"/>
              </a:rPr>
              <a:t> in </a:t>
            </a:r>
            <a:r>
              <a:rPr lang="de-DE" sz="1050" dirty="0" err="1">
                <a:latin typeface="+mn-lt"/>
              </a:rPr>
              <a:t>navigated</a:t>
            </a:r>
            <a:r>
              <a:rPr lang="de-DE" sz="1050" dirty="0">
                <a:latin typeface="+mn-lt"/>
              </a:rPr>
              <a:t> total </a:t>
            </a:r>
            <a:r>
              <a:rPr lang="de-DE" sz="1050" dirty="0" err="1">
                <a:latin typeface="+mn-lt"/>
              </a:rPr>
              <a:t>knee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arthroplasty</a:t>
            </a:r>
            <a:r>
              <a:rPr lang="de-DE" sz="1050" dirty="0">
                <a:latin typeface="+mn-lt"/>
              </a:rPr>
              <a:t>. </a:t>
            </a:r>
            <a:r>
              <a:rPr lang="de-DE" sz="1050" dirty="0" err="1">
                <a:latin typeface="+mn-lt"/>
              </a:rPr>
              <a:t>Orthopedics</a:t>
            </a:r>
            <a:r>
              <a:rPr lang="de-DE" sz="1050" dirty="0">
                <a:latin typeface="+mn-lt"/>
              </a:rPr>
              <a:t> 2005; 28 (10, </a:t>
            </a:r>
            <a:r>
              <a:rPr lang="de-DE" sz="1050" dirty="0" err="1">
                <a:latin typeface="+mn-lt"/>
              </a:rPr>
              <a:t>Suppl</a:t>
            </a:r>
            <a:r>
              <a:rPr lang="de-DE" sz="1050" dirty="0">
                <a:latin typeface="+mn-lt"/>
              </a:rPr>
              <a:t>): 1255-8.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50" dirty="0">
                <a:latin typeface="+mn-lt"/>
              </a:rPr>
              <a:t>De Steiger RN, Liu YL, Graves SE. Computer </a:t>
            </a:r>
            <a:r>
              <a:rPr lang="de-DE" sz="1050" dirty="0" err="1">
                <a:latin typeface="+mn-lt"/>
              </a:rPr>
              <a:t>navigation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for</a:t>
            </a:r>
            <a:r>
              <a:rPr lang="de-DE" sz="1050" dirty="0">
                <a:latin typeface="+mn-lt"/>
              </a:rPr>
              <a:t> total </a:t>
            </a:r>
            <a:r>
              <a:rPr lang="de-DE" sz="1050" dirty="0" err="1">
                <a:latin typeface="+mn-lt"/>
              </a:rPr>
              <a:t>knee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arthorplasty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reduces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revision</a:t>
            </a:r>
            <a:r>
              <a:rPr lang="de-DE" sz="1050" dirty="0">
                <a:latin typeface="+mn-lt"/>
              </a:rPr>
              <a:t> rate </a:t>
            </a:r>
            <a:r>
              <a:rPr lang="de-DE" sz="1050" dirty="0" err="1">
                <a:latin typeface="+mn-lt"/>
              </a:rPr>
              <a:t>for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patients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less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than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sixty-five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years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of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age</a:t>
            </a:r>
            <a:r>
              <a:rPr lang="de-DE" sz="1050" dirty="0">
                <a:latin typeface="+mn-lt"/>
              </a:rPr>
              <a:t>. J </a:t>
            </a:r>
            <a:r>
              <a:rPr lang="de-DE" sz="1050" dirty="0" err="1">
                <a:latin typeface="+mn-lt"/>
              </a:rPr>
              <a:t>Bone</a:t>
            </a:r>
            <a:r>
              <a:rPr lang="de-DE" sz="1050" dirty="0">
                <a:latin typeface="+mn-lt"/>
              </a:rPr>
              <a:t> Joint </a:t>
            </a:r>
            <a:r>
              <a:rPr lang="de-DE" sz="1050" dirty="0" err="1">
                <a:latin typeface="+mn-lt"/>
              </a:rPr>
              <a:t>Surg</a:t>
            </a:r>
            <a:r>
              <a:rPr lang="de-DE" sz="1050" dirty="0">
                <a:latin typeface="+mn-lt"/>
              </a:rPr>
              <a:t> Am. 2015 APR 15;97(8):635-42.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50" dirty="0" err="1">
                <a:latin typeface="+mn-lt"/>
              </a:rPr>
              <a:t>Bejek</a:t>
            </a:r>
            <a:r>
              <a:rPr lang="de-DE" sz="1050" dirty="0">
                <a:latin typeface="+mn-lt"/>
              </a:rPr>
              <a:t> Z; </a:t>
            </a:r>
            <a:r>
              <a:rPr lang="de-DE" sz="1050" dirty="0" err="1">
                <a:latin typeface="+mn-lt"/>
              </a:rPr>
              <a:t>Sólyom</a:t>
            </a:r>
            <a:r>
              <a:rPr lang="de-DE" sz="1050" dirty="0">
                <a:latin typeface="+mn-lt"/>
              </a:rPr>
              <a:t> L, </a:t>
            </a:r>
            <a:r>
              <a:rPr lang="de-DE" sz="1050" dirty="0" err="1">
                <a:latin typeface="+mn-lt"/>
              </a:rPr>
              <a:t>Szendroi</a:t>
            </a:r>
            <a:r>
              <a:rPr lang="de-DE" sz="1050" dirty="0">
                <a:latin typeface="+mn-lt"/>
              </a:rPr>
              <a:t> M. </a:t>
            </a:r>
            <a:r>
              <a:rPr lang="de-DE" sz="1050" dirty="0" err="1">
                <a:latin typeface="+mn-lt"/>
              </a:rPr>
              <a:t>Eyperiences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with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computer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navigated</a:t>
            </a:r>
            <a:r>
              <a:rPr lang="de-DE" sz="1050" dirty="0">
                <a:latin typeface="+mn-lt"/>
              </a:rPr>
              <a:t> total </a:t>
            </a:r>
            <a:r>
              <a:rPr lang="de-DE" sz="1050" dirty="0" err="1">
                <a:latin typeface="+mn-lt"/>
              </a:rPr>
              <a:t>knee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arthroplasty</a:t>
            </a:r>
            <a:r>
              <a:rPr lang="de-DE" sz="1050" dirty="0">
                <a:latin typeface="+mn-lt"/>
              </a:rPr>
              <a:t>. Int. </a:t>
            </a:r>
            <a:r>
              <a:rPr lang="de-DE" sz="1050" dirty="0" err="1">
                <a:latin typeface="+mn-lt"/>
              </a:rPr>
              <a:t>Orthop</a:t>
            </a:r>
            <a:r>
              <a:rPr lang="de-DE" sz="1050" dirty="0">
                <a:latin typeface="+mn-lt"/>
              </a:rPr>
              <a:t>. 2007 </a:t>
            </a:r>
            <a:r>
              <a:rPr lang="de-DE" sz="1050" dirty="0" err="1">
                <a:latin typeface="+mn-lt"/>
              </a:rPr>
              <a:t>Oct</a:t>
            </a:r>
            <a:r>
              <a:rPr lang="de-DE" sz="1050" dirty="0">
                <a:latin typeface="+mn-lt"/>
              </a:rPr>
              <a:t>; 31(5): 617-22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50" dirty="0" err="1">
                <a:latin typeface="+mn-lt"/>
              </a:rPr>
              <a:t>Blakeney</a:t>
            </a:r>
            <a:r>
              <a:rPr lang="de-DE" sz="1050" dirty="0">
                <a:latin typeface="+mn-lt"/>
              </a:rPr>
              <a:t> WG, Khan RJ, Wall SJ. Computer-</a:t>
            </a:r>
            <a:r>
              <a:rPr lang="de-DE" sz="1050" dirty="0" err="1">
                <a:latin typeface="+mn-lt"/>
              </a:rPr>
              <a:t>assisted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techniques</a:t>
            </a:r>
            <a:r>
              <a:rPr lang="de-DE" sz="1050" dirty="0">
                <a:latin typeface="+mn-lt"/>
              </a:rPr>
              <a:t> versus </a:t>
            </a:r>
            <a:r>
              <a:rPr lang="de-DE" sz="1050" dirty="0" err="1">
                <a:latin typeface="+mn-lt"/>
              </a:rPr>
              <a:t>conventional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guides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for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component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alignment</a:t>
            </a:r>
            <a:r>
              <a:rPr lang="de-DE" sz="1050" dirty="0">
                <a:latin typeface="+mn-lt"/>
              </a:rPr>
              <a:t> in total </a:t>
            </a:r>
            <a:r>
              <a:rPr lang="de-DE" sz="1050" dirty="0" err="1">
                <a:latin typeface="+mn-lt"/>
              </a:rPr>
              <a:t>knee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arthroplasty</a:t>
            </a:r>
            <a:r>
              <a:rPr lang="de-DE" sz="1050" dirty="0">
                <a:latin typeface="+mn-lt"/>
              </a:rPr>
              <a:t>: a </a:t>
            </a:r>
            <a:r>
              <a:rPr lang="de-DE" sz="1050" dirty="0" err="1">
                <a:latin typeface="+mn-lt"/>
              </a:rPr>
              <a:t>randomized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controlled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trial</a:t>
            </a:r>
            <a:r>
              <a:rPr lang="de-DE" sz="1050" dirty="0">
                <a:latin typeface="+mn-lt"/>
              </a:rPr>
              <a:t>. J </a:t>
            </a:r>
            <a:r>
              <a:rPr lang="de-DE" sz="1050" dirty="0" err="1">
                <a:latin typeface="+mn-lt"/>
              </a:rPr>
              <a:t>Bone</a:t>
            </a:r>
            <a:r>
              <a:rPr lang="de-DE" sz="1050" dirty="0">
                <a:latin typeface="+mn-lt"/>
              </a:rPr>
              <a:t> Joint </a:t>
            </a:r>
            <a:r>
              <a:rPr lang="de-DE" sz="1050" dirty="0" err="1">
                <a:latin typeface="+mn-lt"/>
              </a:rPr>
              <a:t>Surg</a:t>
            </a:r>
            <a:r>
              <a:rPr lang="de-DE" sz="1050" dirty="0">
                <a:latin typeface="+mn-lt"/>
              </a:rPr>
              <a:t> Am. 2011 Aug 3;93(15):1377–84.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50" dirty="0">
                <a:latin typeface="+mn-lt"/>
              </a:rPr>
              <a:t>Zhang GQ, Chen JY, Chai W, Liu M, Wang Y. </a:t>
            </a:r>
            <a:r>
              <a:rPr lang="de-DE" sz="1050" dirty="0" err="1">
                <a:latin typeface="+mn-lt"/>
              </a:rPr>
              <a:t>Comparison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between</a:t>
            </a:r>
            <a:r>
              <a:rPr lang="de-DE" sz="1050" dirty="0">
                <a:latin typeface="+mn-lt"/>
              </a:rPr>
              <a:t> computer-</a:t>
            </a:r>
            <a:r>
              <a:rPr lang="de-DE" sz="1050" dirty="0" err="1">
                <a:latin typeface="+mn-lt"/>
              </a:rPr>
              <a:t>assisted</a:t>
            </a:r>
            <a:r>
              <a:rPr lang="de-DE" sz="1050" dirty="0">
                <a:latin typeface="+mn-lt"/>
              </a:rPr>
              <a:t>-navigation and </a:t>
            </a:r>
            <a:r>
              <a:rPr lang="de-DE" sz="1050" dirty="0" err="1">
                <a:latin typeface="+mn-lt"/>
              </a:rPr>
              <a:t>conventional</a:t>
            </a:r>
            <a:r>
              <a:rPr lang="de-DE" sz="1050" dirty="0">
                <a:latin typeface="+mn-lt"/>
              </a:rPr>
              <a:t> total </a:t>
            </a:r>
            <a:r>
              <a:rPr lang="de-DE" sz="1050" dirty="0" err="1">
                <a:latin typeface="+mn-lt"/>
              </a:rPr>
              <a:t>knee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arthroplasties</a:t>
            </a:r>
            <a:r>
              <a:rPr lang="de-DE" sz="1050" dirty="0">
                <a:latin typeface="+mn-lt"/>
              </a:rPr>
              <a:t> in </a:t>
            </a:r>
            <a:r>
              <a:rPr lang="de-DE" sz="1050" dirty="0" err="1">
                <a:latin typeface="+mn-lt"/>
              </a:rPr>
              <a:t>patients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undergoing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simultaneous</a:t>
            </a:r>
            <a:r>
              <a:rPr lang="de-DE" sz="1050" dirty="0">
                <a:latin typeface="+mn-lt"/>
              </a:rPr>
              <a:t> bilateral </a:t>
            </a:r>
            <a:r>
              <a:rPr lang="de-DE" sz="1050" dirty="0" err="1">
                <a:latin typeface="+mn-lt"/>
              </a:rPr>
              <a:t>procedures</a:t>
            </a:r>
            <a:r>
              <a:rPr lang="de-DE" sz="1050" dirty="0">
                <a:latin typeface="+mn-lt"/>
              </a:rPr>
              <a:t>: a </a:t>
            </a:r>
            <a:r>
              <a:rPr lang="de-DE" sz="1050" dirty="0" err="1">
                <a:latin typeface="+mn-lt"/>
              </a:rPr>
              <a:t>randomized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clinical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trial</a:t>
            </a:r>
            <a:r>
              <a:rPr lang="de-DE" sz="1050" dirty="0">
                <a:latin typeface="+mn-lt"/>
              </a:rPr>
              <a:t>. J </a:t>
            </a:r>
            <a:r>
              <a:rPr lang="de-DE" sz="1050" dirty="0" err="1">
                <a:latin typeface="+mn-lt"/>
              </a:rPr>
              <a:t>Bone</a:t>
            </a:r>
            <a:r>
              <a:rPr lang="de-DE" sz="1050" dirty="0">
                <a:latin typeface="+mn-lt"/>
              </a:rPr>
              <a:t> Joint </a:t>
            </a:r>
            <a:r>
              <a:rPr lang="de-DE" sz="1050" dirty="0" err="1">
                <a:latin typeface="+mn-lt"/>
              </a:rPr>
              <a:t>Surg</a:t>
            </a:r>
            <a:r>
              <a:rPr lang="de-DE" sz="1050" dirty="0">
                <a:latin typeface="+mn-lt"/>
              </a:rPr>
              <a:t> Am. 2011 Jul 6;93(13):1190-6</a:t>
            </a:r>
          </a:p>
          <a:p>
            <a:pPr marL="342900" indent="-342900">
              <a:buSzPct val="100000"/>
              <a:buFont typeface="+mj-lt"/>
              <a:buAutoNum type="arabicPeriod"/>
            </a:pPr>
            <a:r>
              <a:rPr lang="de-DE" sz="1050" dirty="0" err="1">
                <a:latin typeface="+mn-lt"/>
              </a:rPr>
              <a:t>Rebal</a:t>
            </a:r>
            <a:r>
              <a:rPr lang="de-DE" sz="1050" dirty="0">
                <a:latin typeface="+mn-lt"/>
              </a:rPr>
              <a:t> BA; </a:t>
            </a:r>
            <a:r>
              <a:rPr lang="de-DE" sz="1050" dirty="0" err="1">
                <a:latin typeface="+mn-lt"/>
              </a:rPr>
              <a:t>Babatunde</a:t>
            </a:r>
            <a:r>
              <a:rPr lang="de-DE" sz="1050" dirty="0">
                <a:latin typeface="+mn-lt"/>
              </a:rPr>
              <a:t> OM, Lee JH, Patrick DA, Macaulay W. </a:t>
            </a:r>
            <a:r>
              <a:rPr lang="de-DE" sz="1050" dirty="0" err="1">
                <a:latin typeface="+mn-lt"/>
              </a:rPr>
              <a:t>Imageless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navigation</a:t>
            </a:r>
            <a:r>
              <a:rPr lang="de-DE" sz="1050" dirty="0">
                <a:latin typeface="+mn-lt"/>
              </a:rPr>
              <a:t> in total </a:t>
            </a:r>
            <a:r>
              <a:rPr lang="de-DE" sz="1050" dirty="0" err="1">
                <a:latin typeface="+mn-lt"/>
              </a:rPr>
              <a:t>knee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arthroplasty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provides</a:t>
            </a:r>
            <a:r>
              <a:rPr lang="de-DE" sz="1050" dirty="0">
                <a:latin typeface="+mn-lt"/>
              </a:rPr>
              <a:t> superior </a:t>
            </a:r>
            <a:r>
              <a:rPr lang="de-DE" sz="1050" dirty="0" err="1">
                <a:latin typeface="+mn-lt"/>
              </a:rPr>
              <a:t>short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term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functional</a:t>
            </a:r>
            <a:r>
              <a:rPr lang="de-DE" sz="1050" dirty="0">
                <a:latin typeface="+mn-lt"/>
              </a:rPr>
              <a:t> </a:t>
            </a:r>
            <a:r>
              <a:rPr lang="de-DE" sz="1050" dirty="0" err="1">
                <a:latin typeface="+mn-lt"/>
              </a:rPr>
              <a:t>outcomes</a:t>
            </a:r>
            <a:r>
              <a:rPr lang="de-DE" sz="1050" dirty="0">
                <a:latin typeface="+mn-lt"/>
              </a:rPr>
              <a:t>: a meta-analysis. J </a:t>
            </a:r>
            <a:r>
              <a:rPr lang="de-DE" sz="1050" dirty="0" err="1">
                <a:latin typeface="+mn-lt"/>
              </a:rPr>
              <a:t>Arthroplasty</a:t>
            </a:r>
            <a:r>
              <a:rPr lang="de-DE" sz="1050" dirty="0">
                <a:latin typeface="+mn-lt"/>
              </a:rPr>
              <a:t>. 2014 May;29(5):938-44</a:t>
            </a:r>
          </a:p>
          <a:p>
            <a:pPr marL="228600" indent="-228600">
              <a:buSzPct val="100000"/>
              <a:buFont typeface="+mj-lt"/>
              <a:buAutoNum type="arabicPeriod"/>
            </a:pPr>
            <a:endParaRPr lang="en-US" sz="1050" dirty="0">
              <a:latin typeface="+mn-lt"/>
            </a:endParaRPr>
          </a:p>
          <a:p>
            <a:pPr marL="342900" indent="-342900">
              <a:buSzPct val="100000"/>
              <a:buFont typeface="+mj-lt"/>
              <a:buAutoNum type="arabicPeriod"/>
            </a:pPr>
            <a:endParaRPr lang="de-DE" sz="1050" dirty="0">
              <a:latin typeface="+mn-lt"/>
            </a:endParaRPr>
          </a:p>
          <a:p>
            <a:pPr marL="342900" indent="-342900">
              <a:buSzPct val="100000"/>
              <a:buFont typeface="+mj-lt"/>
              <a:buAutoNum type="arabicPeriod"/>
            </a:pPr>
            <a:endParaRPr lang="de-DE" sz="10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493392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 hidden="1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B. Braun Deutschland GmbH &amp; Co. KG </a:t>
            </a:r>
          </a:p>
        </p:txBody>
      </p:sp>
      <p:sp>
        <p:nvSpPr>
          <p:cNvPr id="8" name="Foliennummernplatzhalter 7" hidden="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981D2A-10EE-45CA-B672-13EC15929D94}" type="slidenum">
              <a:rPr kumimoji="0" lang="de-D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itel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Impressum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idx="1"/>
          </p:nvPr>
        </p:nvSpPr>
        <p:spPr>
          <a:xfrm>
            <a:off x="806074" y="2097066"/>
            <a:ext cx="10798539" cy="4320266"/>
          </a:xfrm>
        </p:spPr>
        <p:txBody>
          <a:bodyPr/>
          <a:lstStyle/>
          <a:p>
            <a:r>
              <a:rPr lang="de-DE" sz="1800" b="1" dirty="0">
                <a:solidFill>
                  <a:srgbClr val="2B2B2B"/>
                </a:solidFill>
              </a:rPr>
              <a:t>Anschrift</a:t>
            </a:r>
          </a:p>
          <a:p>
            <a:r>
              <a:rPr lang="de-DE" sz="1600" dirty="0">
                <a:solidFill>
                  <a:srgbClr val="2B2B2B"/>
                </a:solidFill>
              </a:rPr>
              <a:t>B. Braun Deutschland GmbH &amp; Co. KG</a:t>
            </a:r>
            <a:br>
              <a:rPr lang="de-DE" sz="1600" dirty="0">
                <a:solidFill>
                  <a:srgbClr val="2B2B2B"/>
                </a:solidFill>
              </a:rPr>
            </a:br>
            <a:r>
              <a:rPr lang="de-DE" sz="1600" dirty="0">
                <a:solidFill>
                  <a:srgbClr val="2B2B2B"/>
                </a:solidFill>
              </a:rPr>
              <a:t>Carl-Braun-Straße 1</a:t>
            </a:r>
            <a:br>
              <a:rPr lang="de-DE" sz="1600" dirty="0">
                <a:solidFill>
                  <a:srgbClr val="2B2B2B"/>
                </a:solidFill>
              </a:rPr>
            </a:br>
            <a:r>
              <a:rPr lang="de-DE" sz="1600" dirty="0">
                <a:solidFill>
                  <a:srgbClr val="2B2B2B"/>
                </a:solidFill>
              </a:rPr>
              <a:t>D-34212 Melsungen</a:t>
            </a:r>
          </a:p>
          <a:p>
            <a:endParaRPr lang="de-DE" sz="1800" dirty="0">
              <a:solidFill>
                <a:srgbClr val="711E82"/>
              </a:solidFill>
            </a:endParaRPr>
          </a:p>
          <a:p>
            <a:r>
              <a:rPr lang="de-DE" sz="1800" b="1" dirty="0">
                <a:solidFill>
                  <a:srgbClr val="2B2B2B"/>
                </a:solidFill>
              </a:rPr>
              <a:t>Disclaimer</a:t>
            </a:r>
          </a:p>
          <a:p>
            <a:r>
              <a:rPr lang="de-DE" sz="1600" dirty="0">
                <a:solidFill>
                  <a:srgbClr val="2B2B2B"/>
                </a:solidFill>
              </a:rPr>
              <a:t>Alle Urheberrechte an den Daten und Dokumentationen bleiben ausdrücklich der </a:t>
            </a:r>
            <a:br>
              <a:rPr lang="de-DE" sz="1600" dirty="0">
                <a:solidFill>
                  <a:srgbClr val="2B2B2B"/>
                </a:solidFill>
              </a:rPr>
            </a:br>
            <a:r>
              <a:rPr lang="de-DE" sz="1600" dirty="0">
                <a:solidFill>
                  <a:srgbClr val="2B2B2B"/>
                </a:solidFill>
              </a:rPr>
              <a:t>B. Braun Melsungen AG vorbehalten. Die Inhalte stehen den Nutzern nur zur Einsicht zur Verfügung. </a:t>
            </a:r>
          </a:p>
          <a:p>
            <a:r>
              <a:rPr lang="de-DE" sz="1600" dirty="0">
                <a:solidFill>
                  <a:srgbClr val="2B2B2B"/>
                </a:solidFill>
              </a:rPr>
              <a:t>Die – auch auszugsweise – Vervielfältigung von Dokumentationen ist untersagt und bedarf der ausdrücklichen Vereinbarung.</a:t>
            </a:r>
          </a:p>
          <a:p>
            <a:endParaRPr lang="de-DE" dirty="0">
              <a:solidFill>
                <a:srgbClr val="2B2B2B"/>
              </a:solidFill>
            </a:endParaRPr>
          </a:p>
          <a:p>
            <a:r>
              <a:rPr lang="de-DE" sz="1800" b="1" dirty="0">
                <a:solidFill>
                  <a:srgbClr val="2B2B2B"/>
                </a:solidFill>
              </a:rPr>
              <a:t>Stand</a:t>
            </a:r>
          </a:p>
          <a:p>
            <a:r>
              <a:rPr lang="de-DE" sz="1600" dirty="0">
                <a:solidFill>
                  <a:schemeClr val="tx1"/>
                </a:solidFill>
              </a:rPr>
              <a:t>09-2023 / Dokumenten-Nr.: MCO-WM-004148 , </a:t>
            </a:r>
            <a:r>
              <a:rPr lang="de-DE" sz="1600">
                <a:solidFill>
                  <a:schemeClr val="tx1"/>
                </a:solidFill>
              </a:rPr>
              <a:t>Version 2.0</a:t>
            </a:r>
            <a:endParaRPr lang="de-DE" sz="1600" dirty="0">
              <a:solidFill>
                <a:schemeClr val="tx1"/>
              </a:solidFill>
            </a:endParaRPr>
          </a:p>
          <a:p>
            <a:r>
              <a:rPr lang="de-DE" sz="1600" dirty="0">
                <a:solidFill>
                  <a:schemeClr val="tx1"/>
                </a:solidFill>
              </a:rPr>
              <a:t>Zur Abgabe an Kunden</a:t>
            </a:r>
            <a:endParaRPr lang="de-DE" sz="1800" dirty="0">
              <a:solidFill>
                <a:schemeClr val="tx1"/>
              </a:solidFill>
            </a:endParaRPr>
          </a:p>
          <a:p>
            <a:endParaRPr lang="de-DE" sz="1800" dirty="0">
              <a:solidFill>
                <a:srgbClr val="7030A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515812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0" descr="EnduRo-AS_i5_79.jpg">
            <a:extLst>
              <a:ext uri="{FF2B5EF4-FFF2-40B4-BE49-F238E27FC236}">
                <a16:creationId xmlns:a16="http://schemas.microsoft.com/office/drawing/2014/main" id="{EE0B8904-204D-4411-A683-115941D05DB6}"/>
              </a:ext>
            </a:extLst>
          </p:cNvPr>
          <p:cNvPicPr>
            <a:picLocks/>
          </p:cNvPicPr>
          <p:nvPr/>
        </p:nvPicPr>
        <p:blipFill rotWithShape="1">
          <a:blip r:embed="rId5" cstate="print"/>
          <a:srcRect l="-1" r="221"/>
          <a:stretch/>
        </p:blipFill>
        <p:spPr bwMode="auto">
          <a:xfrm>
            <a:off x="1235968" y="0"/>
            <a:ext cx="1094470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id="{BD32F416-DFE0-436A-922A-65EB73F91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 r="11543"/>
          <a:stretch>
            <a:fillRect/>
          </a:stretch>
        </p:blipFill>
        <p:spPr bwMode="auto">
          <a:xfrm>
            <a:off x="8652284" y="4005064"/>
            <a:ext cx="2772000" cy="252412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Grafik 10" descr="EnduRo-AS_i5_79.jpg">
            <a:extLst>
              <a:ext uri="{FF2B5EF4-FFF2-40B4-BE49-F238E27FC236}">
                <a16:creationId xmlns:a16="http://schemas.microsoft.com/office/drawing/2014/main" id="{9BDB33CB-E35B-4788-9071-C2C46272C544}"/>
              </a:ext>
            </a:extLst>
          </p:cNvPr>
          <p:cNvPicPr>
            <a:picLocks/>
          </p:cNvPicPr>
          <p:nvPr/>
        </p:nvPicPr>
        <p:blipFill rotWithShape="1">
          <a:blip r:embed="rId5" cstate="print"/>
          <a:srcRect l="-1" r="78090"/>
          <a:stretch/>
        </p:blipFill>
        <p:spPr bwMode="auto">
          <a:xfrm flipH="1">
            <a:off x="-1167086" y="-4515"/>
            <a:ext cx="240337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platzhalter 4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911424" y="0"/>
            <a:ext cx="3240360" cy="3321050"/>
          </a:xfrm>
          <a:solidFill>
            <a:srgbClr val="00B482"/>
          </a:solidFill>
        </p:spPr>
        <p:txBody>
          <a:bodyPr vert="horz" lIns="180000" tIns="450000" rIns="252000" bIns="450000" rtlCol="0" anchor="t" anchorCtr="0">
            <a:noAutofit/>
          </a:bodyPr>
          <a:lstStyle/>
          <a:p>
            <a:pPr algn="l"/>
            <a:r>
              <a:rPr lang="de-DE" dirty="0"/>
              <a:t>Aesculap</a:t>
            </a:r>
            <a:r>
              <a:rPr lang="de-DE" baseline="30000" dirty="0"/>
              <a:t>®</a:t>
            </a:r>
            <a:r>
              <a:rPr lang="de-DE" dirty="0"/>
              <a:t> </a:t>
            </a:r>
            <a:r>
              <a:rPr lang="de-DE" dirty="0" err="1"/>
              <a:t>EnduRo</a:t>
            </a:r>
            <a:r>
              <a:rPr lang="de-DE" dirty="0"/>
              <a:t> System </a:t>
            </a:r>
          </a:p>
          <a:p>
            <a:pPr algn="l"/>
            <a:endParaRPr lang="de-DE" dirty="0"/>
          </a:p>
          <a:p>
            <a:pPr algn="l">
              <a:defRPr/>
            </a:pPr>
            <a:r>
              <a:rPr lang="de-DE" b="1" dirty="0"/>
              <a:t>Endu</a:t>
            </a:r>
            <a:r>
              <a:rPr lang="de-DE" dirty="0"/>
              <a:t>rance </a:t>
            </a:r>
          </a:p>
          <a:p>
            <a:pPr algn="l">
              <a:defRPr/>
            </a:pPr>
            <a:r>
              <a:rPr lang="de-DE" sz="1400" dirty="0"/>
              <a:t>(Ausdauer, Langlebigkeit, Stabilität)</a:t>
            </a:r>
          </a:p>
          <a:p>
            <a:pPr algn="l">
              <a:defRPr/>
            </a:pPr>
            <a:endParaRPr lang="de-DE" dirty="0"/>
          </a:p>
          <a:p>
            <a:pPr algn="l">
              <a:defRPr/>
            </a:pPr>
            <a:r>
              <a:rPr lang="de-DE" b="1" dirty="0"/>
              <a:t>Ro</a:t>
            </a:r>
            <a:r>
              <a:rPr lang="de-DE" dirty="0"/>
              <a:t>tation</a:t>
            </a:r>
          </a:p>
          <a:p>
            <a:pPr algn="l">
              <a:defRPr/>
            </a:pPr>
            <a:r>
              <a:rPr lang="de-DE" sz="1400" dirty="0"/>
              <a:t>(Mobilität, Modularität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2424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EA99C1-FA5E-4676-AD3B-A3B2B9030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nglebigkeit</a:t>
            </a:r>
            <a:br>
              <a:rPr lang="de-DE" dirty="0"/>
            </a:br>
            <a:r>
              <a:rPr lang="de-DE" dirty="0">
                <a:solidFill>
                  <a:srgbClr val="00B482"/>
                </a:solidFill>
              </a:rPr>
              <a:t>Hohe Kongruenz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23B5324-BDBE-4D63-B252-2CDED07481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spcAft>
                <a:spcPts val="1800"/>
              </a:spcAft>
            </a:pPr>
            <a:r>
              <a:rPr lang="de-DE" dirty="0"/>
              <a:t>Hohe Kongruenz reduziert Druck pro Fläche</a:t>
            </a:r>
            <a:r>
              <a:rPr lang="de-DE" baseline="30000" dirty="0"/>
              <a:t>(1)</a:t>
            </a:r>
            <a:endParaRPr lang="de-DE" dirty="0"/>
          </a:p>
          <a:p>
            <a:pPr lvl="1">
              <a:spcAft>
                <a:spcPts val="1800"/>
              </a:spcAft>
            </a:pPr>
            <a:r>
              <a:rPr lang="de-DE" dirty="0"/>
              <a:t>Kraftübertragung über </a:t>
            </a:r>
            <a:r>
              <a:rPr lang="de-DE" dirty="0" err="1"/>
              <a:t>Femurkomponente</a:t>
            </a:r>
            <a:r>
              <a:rPr lang="de-DE" dirty="0"/>
              <a:t> und Polyethylen</a:t>
            </a:r>
          </a:p>
        </p:txBody>
      </p:sp>
      <p:pic>
        <p:nvPicPr>
          <p:cNvPr id="11" name="Picture 7" descr="Prox">
            <a:extLst>
              <a:ext uri="{FF2B5EF4-FFF2-40B4-BE49-F238E27FC236}">
                <a16:creationId xmlns:a16="http://schemas.microsoft.com/office/drawing/2014/main" id="{06D29C1D-0019-425F-ACA8-8E13710CC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2284" y="4293096"/>
            <a:ext cx="2043364" cy="678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EC5C5E3E-2E3E-4632-8444-2BAE388870E2}"/>
              </a:ext>
            </a:extLst>
          </p:cNvPr>
          <p:cNvSpPr txBox="1">
            <a:spLocks/>
          </p:cNvSpPr>
          <p:nvPr/>
        </p:nvSpPr>
        <p:spPr>
          <a:xfrm>
            <a:off x="5123892" y="6489340"/>
            <a:ext cx="3492388" cy="10595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36000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Tx/>
              <a:buNone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36000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Tx/>
              <a:buNone/>
              <a:defRPr lang="de-DE" sz="1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1) </a:t>
            </a:r>
            <a:r>
              <a:rPr lang="en-US" sz="700" dirty="0" err="1"/>
              <a:t>Morrat</a:t>
            </a:r>
            <a:r>
              <a:rPr lang="en-US" sz="700" dirty="0"/>
              <a:t> et al. 2005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0BE2FF22-957B-4A13-82A8-B120AAFEF1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19536" y="3828170"/>
            <a:ext cx="6209888" cy="1832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5374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3B509CC-6B82-4F08-8E84-68E2CF909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95" imgH="396" progId="TCLayout.ActiveDocument.1">
                  <p:embed/>
                </p:oleObj>
              </mc:Choice>
              <mc:Fallback>
                <p:oleObj name="think-cell Folie" r:id="rId6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3B509CC-6B82-4F08-8E84-68E2CF909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0DFFCE6-2E3E-445F-849D-E15CD4021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>
                <a:ea typeface="+mn-ea"/>
              </a:rPr>
              <a:t>Langlebigkeit</a:t>
            </a:r>
            <a:br>
              <a:rPr lang="en-US" dirty="0">
                <a:solidFill>
                  <a:schemeClr val="tx2"/>
                </a:solidFill>
                <a:ea typeface="+mn-ea"/>
              </a:rPr>
            </a:br>
            <a:r>
              <a:rPr lang="en-US" dirty="0" err="1">
                <a:solidFill>
                  <a:schemeClr val="tx2"/>
                </a:solidFill>
                <a:ea typeface="+mn-ea"/>
              </a:rPr>
              <a:t>Geringer</a:t>
            </a:r>
            <a:r>
              <a:rPr lang="en-US" dirty="0">
                <a:solidFill>
                  <a:schemeClr val="tx2"/>
                </a:solidFill>
                <a:ea typeface="+mn-ea"/>
              </a:rPr>
              <a:t> </a:t>
            </a:r>
            <a:r>
              <a:rPr lang="en-US" dirty="0" err="1">
                <a:solidFill>
                  <a:schemeClr val="tx2"/>
                </a:solidFill>
                <a:ea typeface="+mn-ea"/>
              </a:rPr>
              <a:t>Abrieb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1EA766C-595D-4F41-BA02-0B25730866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7000" y="2060098"/>
            <a:ext cx="3814864" cy="4247039"/>
          </a:xfrm>
        </p:spPr>
        <p:txBody>
          <a:bodyPr/>
          <a:lstStyle/>
          <a:p>
            <a:pPr lvl="1">
              <a:spcAft>
                <a:spcPts val="1800"/>
              </a:spcAft>
            </a:pPr>
            <a:r>
              <a:rPr lang="de-DE" sz="1800" dirty="0"/>
              <a:t>Messung nach Standard </a:t>
            </a:r>
            <a:r>
              <a:rPr lang="en-US" sz="1800" dirty="0"/>
              <a:t>ISO14243-1:-2002(E) </a:t>
            </a:r>
            <a:endParaRPr lang="de-DE" sz="1800" dirty="0">
              <a:solidFill>
                <a:schemeClr val="tx2"/>
              </a:solidFill>
            </a:endParaRPr>
          </a:p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de-DE" dirty="0">
                <a:solidFill>
                  <a:schemeClr val="tx2"/>
                </a:solidFill>
              </a:rPr>
              <a:t>Geringer</a:t>
            </a:r>
            <a:r>
              <a:rPr lang="de-DE" sz="1800" dirty="0">
                <a:solidFill>
                  <a:schemeClr val="tx2"/>
                </a:solidFill>
              </a:rPr>
              <a:t> PE Abrieb für </a:t>
            </a:r>
            <a:r>
              <a:rPr lang="de-DE" sz="1800" dirty="0" err="1">
                <a:solidFill>
                  <a:schemeClr val="tx2"/>
                </a:solidFill>
              </a:rPr>
              <a:t>EnduRo</a:t>
            </a:r>
            <a:r>
              <a:rPr lang="de-DE" sz="1800" dirty="0">
                <a:solidFill>
                  <a:schemeClr val="tx2"/>
                </a:solidFill>
              </a:rPr>
              <a:t> </a:t>
            </a:r>
            <a:r>
              <a:rPr lang="de-DE" sz="1800" dirty="0" err="1">
                <a:solidFill>
                  <a:schemeClr val="tx2"/>
                </a:solidFill>
              </a:rPr>
              <a:t>CoCr</a:t>
            </a:r>
            <a:r>
              <a:rPr lang="de-DE" sz="1800" dirty="0">
                <a:solidFill>
                  <a:schemeClr val="tx2"/>
                </a:solidFill>
              </a:rPr>
              <a:t> &amp; AS</a:t>
            </a:r>
            <a:r>
              <a:rPr lang="de-DE" sz="1800" baseline="30000" dirty="0">
                <a:solidFill>
                  <a:srgbClr val="00B482"/>
                </a:solidFill>
              </a:rPr>
              <a:t>(4, 5, 7)</a:t>
            </a:r>
            <a:endParaRPr lang="de-DE" sz="1800" dirty="0">
              <a:solidFill>
                <a:srgbClr val="00B482"/>
              </a:solidFill>
            </a:endParaRPr>
          </a:p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de-DE" sz="1800" dirty="0"/>
              <a:t>AS reduziert PE Abrieb noch einmal um bis zu 88%</a:t>
            </a:r>
            <a:r>
              <a:rPr lang="de-DE" sz="1800" baseline="30000" dirty="0"/>
              <a:t>(4, 5, 7)</a:t>
            </a:r>
          </a:p>
          <a:p>
            <a:pPr>
              <a:spcAft>
                <a:spcPts val="1800"/>
              </a:spcAft>
            </a:pPr>
            <a:endParaRPr lang="de-DE" sz="1800" dirty="0"/>
          </a:p>
        </p:txBody>
      </p:sp>
      <p:graphicFrame>
        <p:nvGraphicFramePr>
          <p:cNvPr id="10" name="Objekt 4">
            <a:extLst>
              <a:ext uri="{FF2B5EF4-FFF2-40B4-BE49-F238E27FC236}">
                <a16:creationId xmlns:a16="http://schemas.microsoft.com/office/drawing/2014/main" id="{F57C7B55-7AA9-458D-AC20-EAC4161D00B8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4403812" y="1772816"/>
          <a:ext cx="7560000" cy="4415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06B329A-46B5-4134-8DF1-72A7E48DABBF}"/>
              </a:ext>
            </a:extLst>
          </p:cNvPr>
          <p:cNvSpPr txBox="1">
            <a:spLocks/>
          </p:cNvSpPr>
          <p:nvPr/>
        </p:nvSpPr>
        <p:spPr>
          <a:xfrm>
            <a:off x="5159896" y="6453336"/>
            <a:ext cx="4140460" cy="19053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36000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Tx/>
              <a:buNone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36000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Tx/>
              <a:buNone/>
              <a:defRPr lang="de-DE" sz="1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4) Reich et al. 2010; 5) </a:t>
            </a:r>
            <a:r>
              <a:rPr lang="en-US" sz="700" dirty="0" err="1"/>
              <a:t>Grupp</a:t>
            </a:r>
            <a:r>
              <a:rPr lang="en-US" sz="700" dirty="0"/>
              <a:t> et al. 2013; 7) </a:t>
            </a:r>
            <a:r>
              <a:rPr lang="en-US" sz="700" dirty="0" err="1"/>
              <a:t>Grupp</a:t>
            </a:r>
            <a:r>
              <a:rPr lang="en-US" sz="700" dirty="0"/>
              <a:t> et al. 201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5098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C13822-9E6C-4A55-B803-29C33055EE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de-DE" dirty="0"/>
            </a:br>
            <a:r>
              <a:rPr lang="de-DE" dirty="0"/>
              <a:t>AS </a:t>
            </a:r>
            <a:r>
              <a:rPr lang="de-DE" dirty="0" err="1"/>
              <a:t>Advanced</a:t>
            </a:r>
            <a:r>
              <a:rPr lang="de-DE" dirty="0"/>
              <a:t> Surface</a:t>
            </a:r>
            <a:br>
              <a:rPr lang="de-DE" dirty="0"/>
            </a:br>
            <a:r>
              <a:rPr lang="de-DE" dirty="0">
                <a:solidFill>
                  <a:srgbClr val="00B482"/>
                </a:solidFill>
              </a:rPr>
              <a:t>7 Schichten schützen Si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8FA9A4D-9FD0-46A1-B33E-FC67436D3F4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1">
              <a:spcAft>
                <a:spcPts val="1800"/>
              </a:spcAft>
            </a:pPr>
            <a:r>
              <a:rPr lang="de-DE" sz="1600" dirty="0"/>
              <a:t>7-fach </a:t>
            </a:r>
            <a:r>
              <a:rPr lang="de-DE" sz="1600" dirty="0" err="1"/>
              <a:t>Multilayer</a:t>
            </a:r>
            <a:r>
              <a:rPr lang="de-DE" sz="1600" dirty="0"/>
              <a:t> Beschichtung für Primär und Revision</a:t>
            </a:r>
            <a:endParaRPr lang="de-DE" sz="1600" baseline="30000" dirty="0"/>
          </a:p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en-US" sz="1600" dirty="0" err="1"/>
              <a:t>Keramische</a:t>
            </a:r>
            <a:r>
              <a:rPr lang="en-US" sz="1600" dirty="0"/>
              <a:t> </a:t>
            </a:r>
            <a:r>
              <a:rPr lang="en-US" sz="1600" dirty="0" err="1"/>
              <a:t>Zirkoniumnitrid</a:t>
            </a:r>
            <a:r>
              <a:rPr lang="en-US" sz="1600" dirty="0"/>
              <a:t> </a:t>
            </a:r>
            <a:r>
              <a:rPr lang="en-US" sz="1600" dirty="0" err="1"/>
              <a:t>Oberfläche</a:t>
            </a:r>
            <a:r>
              <a:rPr lang="en-US" sz="1600" dirty="0"/>
              <a:t> </a:t>
            </a:r>
            <a:r>
              <a:rPr lang="en-US" sz="1600" dirty="0" err="1">
                <a:solidFill>
                  <a:srgbClr val="00B482"/>
                </a:solidFill>
              </a:rPr>
              <a:t>reduziert</a:t>
            </a:r>
            <a:r>
              <a:rPr lang="en-US" sz="1600" dirty="0">
                <a:solidFill>
                  <a:srgbClr val="00B482"/>
                </a:solidFill>
              </a:rPr>
              <a:t> den PE </a:t>
            </a:r>
            <a:r>
              <a:rPr lang="en-US" sz="1600" dirty="0" err="1">
                <a:solidFill>
                  <a:srgbClr val="00B482"/>
                </a:solidFill>
              </a:rPr>
              <a:t>Abrieb</a:t>
            </a:r>
            <a:r>
              <a:rPr lang="en-US" sz="1600" dirty="0">
                <a:solidFill>
                  <a:srgbClr val="00B482"/>
                </a:solidFill>
              </a:rPr>
              <a:t> </a:t>
            </a:r>
            <a:r>
              <a:rPr lang="en-US" sz="1600" dirty="0"/>
              <a:t>um</a:t>
            </a:r>
            <a:r>
              <a:rPr lang="en-US" sz="1600" dirty="0">
                <a:solidFill>
                  <a:srgbClr val="00B482"/>
                </a:solidFill>
              </a:rPr>
              <a:t> </a:t>
            </a:r>
            <a:r>
              <a:rPr lang="en-US" sz="1600" dirty="0"/>
              <a:t>bis </a:t>
            </a:r>
            <a:r>
              <a:rPr lang="en-US" sz="1600" dirty="0" err="1"/>
              <a:t>zu</a:t>
            </a:r>
            <a:r>
              <a:rPr lang="en-US" sz="1600" dirty="0"/>
              <a:t> 88%</a:t>
            </a:r>
            <a:r>
              <a:rPr lang="en-US" sz="1600" baseline="30000" dirty="0"/>
              <a:t>(3,4,5)</a:t>
            </a:r>
            <a:endParaRPr lang="en-US" sz="1600" dirty="0"/>
          </a:p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de-DE" sz="1600" dirty="0">
                <a:solidFill>
                  <a:srgbClr val="00B482"/>
                </a:solidFill>
              </a:rPr>
              <a:t>Reduktion der Metallionenfreisetzung </a:t>
            </a:r>
            <a:r>
              <a:rPr lang="de-DE" sz="1600" dirty="0"/>
              <a:t>bis an die Messbarkeitsgrenze</a:t>
            </a:r>
            <a:r>
              <a:rPr lang="de-DE" sz="1600" baseline="30000" dirty="0"/>
              <a:t>(4)</a:t>
            </a:r>
            <a:r>
              <a:rPr lang="en-US" sz="1600" dirty="0"/>
              <a:t> </a:t>
            </a:r>
          </a:p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en-US" sz="1600" dirty="0" err="1">
                <a:solidFill>
                  <a:srgbClr val="00B482"/>
                </a:solidFill>
              </a:rPr>
              <a:t>Reduzierte</a:t>
            </a:r>
            <a:r>
              <a:rPr lang="en-US" sz="1600" dirty="0">
                <a:solidFill>
                  <a:srgbClr val="00B482"/>
                </a:solidFill>
              </a:rPr>
              <a:t> </a:t>
            </a:r>
            <a:r>
              <a:rPr lang="en-US" sz="1600" dirty="0" err="1">
                <a:solidFill>
                  <a:srgbClr val="00B482"/>
                </a:solidFill>
              </a:rPr>
              <a:t>Biofilmbildung</a:t>
            </a:r>
            <a:r>
              <a:rPr lang="en-US" sz="1600" baseline="30000" dirty="0">
                <a:solidFill>
                  <a:srgbClr val="00B482"/>
                </a:solidFill>
              </a:rPr>
              <a:t> </a:t>
            </a:r>
            <a:r>
              <a:rPr lang="en-US" sz="1600" baseline="30000" dirty="0"/>
              <a:t>(7)</a:t>
            </a:r>
          </a:p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en-US" sz="1600" dirty="0" err="1"/>
              <a:t>Sicherheit</a:t>
            </a:r>
            <a:r>
              <a:rPr lang="en-US" sz="1600" dirty="0"/>
              <a:t> </a:t>
            </a:r>
            <a:r>
              <a:rPr lang="en-US" sz="1600" dirty="0" err="1"/>
              <a:t>durch</a:t>
            </a:r>
            <a:r>
              <a:rPr lang="en-US" sz="1600" dirty="0"/>
              <a:t> </a:t>
            </a:r>
            <a:r>
              <a:rPr lang="en-US" sz="1600" dirty="0" err="1">
                <a:solidFill>
                  <a:srgbClr val="00B482"/>
                </a:solidFill>
              </a:rPr>
              <a:t>exzellente</a:t>
            </a:r>
            <a:r>
              <a:rPr lang="en-US" sz="1600" dirty="0">
                <a:solidFill>
                  <a:srgbClr val="00B482"/>
                </a:solidFill>
              </a:rPr>
              <a:t> </a:t>
            </a:r>
            <a:r>
              <a:rPr lang="en-US" sz="1600" dirty="0" err="1">
                <a:solidFill>
                  <a:srgbClr val="00B482"/>
                </a:solidFill>
              </a:rPr>
              <a:t>Überlebensraten</a:t>
            </a:r>
            <a:r>
              <a:rPr lang="en-US" sz="1600" baseline="30000" dirty="0"/>
              <a:t>(8,9,10)</a:t>
            </a:r>
          </a:p>
          <a:p>
            <a:pPr lvl="3">
              <a:spcAft>
                <a:spcPts val="1800"/>
              </a:spcAft>
              <a:buClr>
                <a:schemeClr val="tx1"/>
              </a:buClr>
              <a:buFont typeface="Wingdings" panose="05000000000000000000" pitchFamily="2" charset="2"/>
              <a:buChar char="Ø"/>
            </a:pPr>
            <a:endParaRPr lang="de-DE" sz="1600" baseline="30000" dirty="0"/>
          </a:p>
          <a:p>
            <a:pPr lvl="1">
              <a:spcAft>
                <a:spcPts val="1800"/>
              </a:spcAft>
            </a:pPr>
            <a:endParaRPr lang="de-DE" sz="16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4A3D76F-2A41-4451-82AD-2CF20EF8EF8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7000"/>
          </a:blip>
          <a:stretch>
            <a:fillRect/>
          </a:stretch>
        </p:blipFill>
        <p:spPr>
          <a:xfrm>
            <a:off x="337440" y="1785093"/>
            <a:ext cx="6154674" cy="4271277"/>
          </a:xfrm>
          <a:prstGeom prst="rect">
            <a:avLst/>
          </a:prstGeom>
        </p:spPr>
      </p:pic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315C9113-159D-4CF5-AD89-E38DEA584B86}"/>
              </a:ext>
            </a:extLst>
          </p:cNvPr>
          <p:cNvSpPr txBox="1">
            <a:spLocks/>
          </p:cNvSpPr>
          <p:nvPr/>
        </p:nvSpPr>
        <p:spPr>
          <a:xfrm>
            <a:off x="4187788" y="6489340"/>
            <a:ext cx="7200800" cy="14196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1088776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36000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Tx/>
              <a:buNone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36000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lang="de-DE" sz="19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0" algn="l" defTabSz="1088776" rtl="0" eaLnBrk="1" latinLnBrk="0" hangingPunct="1">
              <a:spcBef>
                <a:spcPts val="1000"/>
              </a:spcBef>
              <a:spcAft>
                <a:spcPts val="0"/>
              </a:spcAft>
              <a:buFontTx/>
              <a:buNone/>
              <a:defRPr lang="de-DE" sz="1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14439" indent="0" algn="l" defTabSz="1088776" rtl="0" eaLnBrk="1" latinLnBrk="0" hangingPunct="1">
              <a:spcBef>
                <a:spcPts val="457"/>
              </a:spcBef>
              <a:spcAft>
                <a:spcPts val="0"/>
              </a:spcAft>
              <a:buFont typeface="Arial" panose="020B0604020202020204" pitchFamily="34" charset="0"/>
              <a:buNone/>
              <a:defRPr sz="1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/>
              <a:t> 3) </a:t>
            </a:r>
            <a:r>
              <a:rPr lang="en-US" sz="700" dirty="0" err="1"/>
              <a:t>Grupp</a:t>
            </a:r>
            <a:r>
              <a:rPr lang="en-US" sz="700" dirty="0"/>
              <a:t> et al. 2014; 4) Reich et al. 2010; 5) </a:t>
            </a:r>
            <a:r>
              <a:rPr lang="en-US" sz="700" dirty="0" err="1"/>
              <a:t>Grupp</a:t>
            </a:r>
            <a:r>
              <a:rPr lang="en-US" sz="700" dirty="0"/>
              <a:t> et al. 2013; 7) </a:t>
            </a:r>
            <a:r>
              <a:rPr lang="en-US" sz="700" dirty="0" err="1"/>
              <a:t>Pilz</a:t>
            </a:r>
            <a:r>
              <a:rPr lang="en-US" sz="700" dirty="0"/>
              <a:t> et al. 2019; 8)  Beyer et al. 2015; 9) NJR Register 2020; 10) </a:t>
            </a:r>
            <a:r>
              <a:rPr lang="en-US" sz="700" dirty="0" err="1"/>
              <a:t>Grimberg</a:t>
            </a:r>
            <a:r>
              <a:rPr lang="en-US" sz="700" dirty="0"/>
              <a:t> et al. 2020;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EFA1D037-7C97-460B-96B4-C5B8BCD5D43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88E5DF6-2E07-4FB4-B10C-CA7CE47716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5500" y="2672916"/>
            <a:ext cx="3466530" cy="3102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096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274EE5-158C-486B-AAA1-6A0F72F20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uxationssicherhei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4288A9F-E906-40AA-AF78-838CFE6929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7000" y="2060098"/>
            <a:ext cx="5579060" cy="4247039"/>
          </a:xfrm>
        </p:spPr>
        <p:txBody>
          <a:bodyPr/>
          <a:lstStyle/>
          <a:p>
            <a:pPr lvl="1">
              <a:spcAft>
                <a:spcPts val="1800"/>
              </a:spcAft>
              <a:buClr>
                <a:schemeClr val="tx1"/>
              </a:buClr>
              <a:defRPr/>
            </a:pPr>
            <a:r>
              <a:rPr lang="de-DE" dirty="0"/>
              <a:t>Feste Verbindung von Femur und Tibia</a:t>
            </a:r>
          </a:p>
          <a:p>
            <a:pPr lvl="1">
              <a:spcAft>
                <a:spcPts val="1800"/>
              </a:spcAft>
              <a:buClr>
                <a:schemeClr val="tx1"/>
              </a:buClr>
              <a:defRPr/>
            </a:pPr>
            <a:r>
              <a:rPr lang="de-DE" dirty="0"/>
              <a:t>Doppelte Sicherheit durch Konus + Sicherungsmutter</a:t>
            </a:r>
          </a:p>
          <a:p>
            <a:pPr lvl="1">
              <a:spcAft>
                <a:spcPts val="1800"/>
              </a:spcAft>
              <a:buClr>
                <a:schemeClr val="tx1"/>
              </a:buClr>
              <a:defRPr/>
            </a:pPr>
            <a:r>
              <a:rPr lang="de-DE" dirty="0"/>
              <a:t>Luxationshub 3 mm als zusätzlicher „Puffer“</a:t>
            </a:r>
            <a:endParaRPr lang="en-US" dirty="0"/>
          </a:p>
          <a:p>
            <a:pPr lvl="1">
              <a:spcAft>
                <a:spcPts val="1800"/>
              </a:spcAft>
              <a:buClr>
                <a:schemeClr val="tx1"/>
              </a:buClr>
              <a:defRPr/>
            </a:pPr>
            <a:r>
              <a:rPr lang="de-DE" dirty="0">
                <a:solidFill>
                  <a:srgbClr val="00B482"/>
                </a:solidFill>
              </a:rPr>
              <a:t>Schutz des Knochen-Zementinterface</a:t>
            </a:r>
            <a:endParaRPr lang="en-US" dirty="0">
              <a:solidFill>
                <a:srgbClr val="00B482"/>
              </a:solidFill>
            </a:endParaRPr>
          </a:p>
          <a:p>
            <a:pPr lvl="1">
              <a:spcAft>
                <a:spcPts val="1800"/>
              </a:spcAft>
              <a:buClr>
                <a:schemeClr val="tx1"/>
              </a:buClr>
              <a:defRPr/>
            </a:pPr>
            <a:endParaRPr lang="en-US" dirty="0"/>
          </a:p>
          <a:p>
            <a:pPr lvl="1">
              <a:spcAft>
                <a:spcPts val="1800"/>
              </a:spcAft>
              <a:buClr>
                <a:schemeClr val="tx1"/>
              </a:buClr>
            </a:pPr>
            <a:endParaRPr lang="de-DE" dirty="0"/>
          </a:p>
        </p:txBody>
      </p:sp>
      <p:pic>
        <p:nvPicPr>
          <p:cNvPr id="5" name="Grafik 20" descr="EnduRo-AS_i4_47.jpg">
            <a:extLst>
              <a:ext uri="{FF2B5EF4-FFF2-40B4-BE49-F238E27FC236}">
                <a16:creationId xmlns:a16="http://schemas.microsoft.com/office/drawing/2014/main" id="{03883B9A-54DA-4836-AB93-A9FCE0F243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38" b="16203"/>
          <a:stretch>
            <a:fillRect/>
          </a:stretch>
        </p:blipFill>
        <p:spPr bwMode="auto">
          <a:xfrm>
            <a:off x="8239732" y="1261181"/>
            <a:ext cx="2212975" cy="238283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val 7">
            <a:extLst>
              <a:ext uri="{FF2B5EF4-FFF2-40B4-BE49-F238E27FC236}">
                <a16:creationId xmlns:a16="http://schemas.microsoft.com/office/drawing/2014/main" id="{DFDA7D74-0A08-443E-BBC7-C35B8F7B4612}"/>
              </a:ext>
            </a:extLst>
          </p:cNvPr>
          <p:cNvSpPr>
            <a:spLocks noChangeArrowheads="1"/>
          </p:cNvSpPr>
          <p:nvPr/>
        </p:nvSpPr>
        <p:spPr bwMode="auto">
          <a:xfrm rot="1492324">
            <a:off x="9104919" y="2060195"/>
            <a:ext cx="1276350" cy="1304925"/>
          </a:xfrm>
          <a:prstGeom prst="ellipse">
            <a:avLst/>
          </a:prstGeom>
          <a:noFill/>
          <a:ln w="38100">
            <a:solidFill>
              <a:srgbClr val="00B48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72000" rIns="0" bIns="72000" anchor="ctr"/>
          <a:lstStyle>
            <a:lvl1pPr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endParaRPr lang="en-US" altLang="de-DE"/>
          </a:p>
        </p:txBody>
      </p:sp>
      <p:pic>
        <p:nvPicPr>
          <p:cNvPr id="7" name="Picture 18" descr="\\bbmag.bbraun.com\DE13\home\HOEFDEDE\Documents\Rotating Hinge\Bildmaterial\Fotos\EnduRo_i22_tibia_3c.jpg">
            <a:extLst>
              <a:ext uri="{FF2B5EF4-FFF2-40B4-BE49-F238E27FC236}">
                <a16:creationId xmlns:a16="http://schemas.microsoft.com/office/drawing/2014/main" id="{2DCEE652-5A04-49EC-8284-3D8517FD1B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21" t="25613" r="11382"/>
          <a:stretch>
            <a:fillRect/>
          </a:stretch>
        </p:blipFill>
        <p:spPr bwMode="auto">
          <a:xfrm>
            <a:off x="8239732" y="3949185"/>
            <a:ext cx="2212975" cy="146843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val 6">
            <a:extLst>
              <a:ext uri="{FF2B5EF4-FFF2-40B4-BE49-F238E27FC236}">
                <a16:creationId xmlns:a16="http://schemas.microsoft.com/office/drawing/2014/main" id="{51C2B81E-9075-4494-9385-CC126AF38B4C}"/>
              </a:ext>
            </a:extLst>
          </p:cNvPr>
          <p:cNvSpPr>
            <a:spLocks noChangeArrowheads="1"/>
          </p:cNvSpPr>
          <p:nvPr/>
        </p:nvSpPr>
        <p:spPr bwMode="auto">
          <a:xfrm rot="1492324">
            <a:off x="8787419" y="3961270"/>
            <a:ext cx="1133475" cy="1158875"/>
          </a:xfrm>
          <a:prstGeom prst="ellipse">
            <a:avLst/>
          </a:prstGeom>
          <a:noFill/>
          <a:ln w="38100">
            <a:solidFill>
              <a:srgbClr val="00B48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72000" rIns="0" bIns="72000" anchor="ctr"/>
          <a:lstStyle>
            <a:lvl1pPr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hlink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835158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274EE5-158C-486B-AAA1-6A0F72F20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bilitä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4288A9F-E906-40AA-AF78-838CFE6929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7000" y="2060098"/>
            <a:ext cx="4714964" cy="4247039"/>
          </a:xfrm>
        </p:spPr>
        <p:txBody>
          <a:bodyPr/>
          <a:lstStyle/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de-DE" dirty="0">
                <a:solidFill>
                  <a:srgbClr val="00B482"/>
                </a:solidFill>
              </a:rPr>
              <a:t>Achsnahes Rotationszentrum </a:t>
            </a:r>
            <a:r>
              <a:rPr lang="de-DE" dirty="0"/>
              <a:t>für eine geringe Auslenkung</a:t>
            </a:r>
          </a:p>
          <a:p>
            <a:pPr lvl="1">
              <a:spcAft>
                <a:spcPts val="1800"/>
              </a:spcAft>
              <a:buClr>
                <a:schemeClr val="tx1"/>
              </a:buClr>
            </a:pPr>
            <a:r>
              <a:rPr lang="de-DE" dirty="0"/>
              <a:t>Rotationsbegrenzung +- 12°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9972925-439E-479A-97F9-38CA58D0438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679" r="7150"/>
          <a:stretch/>
        </p:blipFill>
        <p:spPr>
          <a:xfrm>
            <a:off x="7318576" y="1736812"/>
            <a:ext cx="3816424" cy="41490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95474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CC681F5E-4F8C-E50E-4052-4B7EF876E2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Modularität</a:t>
            </a:r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01DFEEB2-E9B9-4F69-50D8-4B485779A4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08069" y="3645024"/>
            <a:ext cx="3564396" cy="2519984"/>
          </a:xfrm>
        </p:spPr>
        <p:txBody>
          <a:bodyPr/>
          <a:lstStyle/>
          <a:p>
            <a:pPr lvl="1">
              <a:spcAft>
                <a:spcPts val="1800"/>
              </a:spcAft>
              <a:buClr>
                <a:schemeClr val="tx1"/>
              </a:buClr>
              <a:defRPr/>
            </a:pPr>
            <a:r>
              <a:rPr lang="de-DE" dirty="0"/>
              <a:t>Zementierte und zementfreie Verlängerungsschäfte</a:t>
            </a:r>
          </a:p>
          <a:p>
            <a:pPr lvl="1">
              <a:spcAft>
                <a:spcPts val="1800"/>
              </a:spcAft>
              <a:buClr>
                <a:schemeClr val="tx1"/>
              </a:buClr>
              <a:defRPr/>
            </a:pPr>
            <a:r>
              <a:rPr lang="de-DE" dirty="0"/>
              <a:t>Femur- und Tibia Augmente von 4 bis 12 / 16 mm</a:t>
            </a:r>
          </a:p>
          <a:p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4288A9F-E906-40AA-AF78-838CFE6929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anchor="ctr"/>
          <a:lstStyle/>
          <a:p>
            <a:pPr marL="0" lvl="1" indent="0">
              <a:spcAft>
                <a:spcPts val="1800"/>
              </a:spcAft>
              <a:buClr>
                <a:schemeClr val="tx1"/>
              </a:buClr>
              <a:buNone/>
              <a:defRPr/>
            </a:pPr>
            <a:endParaRPr lang="de-DE" dirty="0"/>
          </a:p>
          <a:p>
            <a:pPr lvl="1">
              <a:spcAft>
                <a:spcPts val="1800"/>
              </a:spcAft>
              <a:buClr>
                <a:schemeClr val="tx1"/>
              </a:buClr>
              <a:defRPr/>
            </a:pPr>
            <a:endParaRPr lang="de-DE" dirty="0"/>
          </a:p>
          <a:p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6EC5EC9-B5FE-48F5-9578-68BC5E1B8D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5560" y="-230447"/>
            <a:ext cx="4536504" cy="685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9788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274EE5-158C-486B-AAA1-6A0F72F20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dularitä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4288A9F-E906-40AA-AF78-838CFE6929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spcAft>
                <a:spcPts val="1800"/>
              </a:spcAft>
              <a:buClr>
                <a:schemeClr val="tx1"/>
              </a:buClr>
              <a:defRPr/>
            </a:pPr>
            <a:r>
              <a:rPr lang="de-DE" dirty="0">
                <a:solidFill>
                  <a:srgbClr val="00B482"/>
                </a:solidFill>
              </a:rPr>
              <a:t>Offset nahe der Gelenklinie</a:t>
            </a:r>
          </a:p>
          <a:p>
            <a:pPr lvl="1">
              <a:spcAft>
                <a:spcPts val="1800"/>
              </a:spcAft>
              <a:buClr>
                <a:schemeClr val="tx1"/>
              </a:buClr>
              <a:defRPr/>
            </a:pPr>
            <a:r>
              <a:rPr lang="en-US" dirty="0" err="1"/>
              <a:t>Tibiales</a:t>
            </a:r>
            <a:r>
              <a:rPr lang="en-US" dirty="0"/>
              <a:t> </a:t>
            </a:r>
            <a:r>
              <a:rPr lang="de-DE" dirty="0"/>
              <a:t>ML-Offset stufenlos bis +/- 6mm</a:t>
            </a:r>
          </a:p>
          <a:p>
            <a:pPr lvl="1">
              <a:spcAft>
                <a:spcPts val="1800"/>
              </a:spcAft>
              <a:buClr>
                <a:schemeClr val="tx1"/>
              </a:buClr>
              <a:defRPr/>
            </a:pPr>
            <a:r>
              <a:rPr lang="en-US" dirty="0" err="1"/>
              <a:t>Femurales</a:t>
            </a:r>
            <a:r>
              <a:rPr lang="en-US" dirty="0"/>
              <a:t> Offset </a:t>
            </a:r>
            <a:r>
              <a:rPr lang="de-DE" dirty="0"/>
              <a:t>AP +/- 2 mm </a:t>
            </a:r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FA2A92A-04C2-4596-8847-B07DEA96C7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4300"/>
          <a:stretch/>
        </p:blipFill>
        <p:spPr>
          <a:xfrm>
            <a:off x="6960096" y="836712"/>
            <a:ext cx="3091903" cy="345638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D73D5A9-E20D-482C-8CF3-CEDBDD1200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96" y="4438676"/>
            <a:ext cx="3086665" cy="18684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98689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OTERHASBEENPREPAREDFOR12" val="True"/>
  <p:tag name="COLORPALETTEDESIGNATOR" val="16x9"/>
  <p:tag name="DESIGNGRIDDESIGNATOR" val="16x9"/>
  <p:tag name="SLIDEPOOLDESIGNATOR" val="16x9"/>
  <p:tag name="SLIDEPOOLPREVIEWDESIGNATOR" val="16x9"/>
  <p:tag name="TEMPLATEDESIGNATOR" val="16x9"/>
  <p:tag name="EXTENDEDCOLORPALETTEDESIGNATOR" val="BBraun"/>
  <p:tag name="PRESENTATIONLANGUAGE" val="deutsch"/>
  <p:tag name="MMPROD_NEXTUNIQUEID" val="10009"/>
  <p:tag name="MMPROD_UIDATA" val="&lt;database version=&quot;11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Aesculap® Enduro Revisionssystem&amp;quot;&quot;/&gt;&lt;property id=&quot;20307&quot; value=&quot;2134804235&quot;/&gt;&lt;/object&gt;&lt;object type=&quot;3&quot; unique_id=&quot;10005&quot;&gt;&lt;property id=&quot;20148&quot; value=&quot;5&quot;/&gt;&lt;property id=&quot;20300&quot; value=&quot;Slide 2&quot;/&gt;&lt;property id=&quot;20307&quot; value=&quot;805&quot;/&gt;&lt;/object&gt;&lt;object type=&quot;3&quot; unique_id=&quot;10006&quot;&gt;&lt;property id=&quot;20148&quot; value=&quot;5&quot;/&gt;&lt;property id=&quot;20300&quot; value=&quot;Slide 3 - &amp;quot;Langlebigkeit Hohe Kongruenz&amp;quot;&quot;/&gt;&lt;property id=&quot;20307&quot; value=&quot;802&quot;/&gt;&lt;/object&gt;&lt;object type=&quot;3&quot; unique_id=&quot;10007&quot;&gt;&lt;property id=&quot;20148&quot; value=&quot;5&quot;/&gt;&lt;property id=&quot;20300&quot; value=&quot;Slide 4 - &amp;quot;Langlebigkeit Geringer Abrieb&amp;quot;&quot;/&gt;&lt;property id=&quot;20307&quot; value=&quot;595&quot;/&gt;&lt;/object&gt;&lt;object type=&quot;3&quot; unique_id=&quot;10008&quot;&gt;&lt;property id=&quot;20148&quot; value=&quot;5&quot;/&gt;&lt;property id=&quot;20300&quot; value=&quot;Slide 5 - &amp;quot; AS Advanced Surface 7 Schichten schützen Sie&amp;quot;&quot;/&gt;&lt;property id=&quot;20307&quot; value=&quot;410&quot;/&gt;&lt;/object&gt;&lt;object type=&quot;3&quot; unique_id=&quot;10009&quot;&gt;&lt;property id=&quot;20148&quot; value=&quot;5&quot;/&gt;&lt;property id=&quot;20300&quot; value=&quot;Slide 6 - &amp;quot;Luxationssicherheit&amp;quot;&quot;/&gt;&lt;property id=&quot;20307&quot; value=&quot;798&quot;/&gt;&lt;/object&gt;&lt;object type=&quot;3&quot; unique_id=&quot;10010&quot;&gt;&lt;property id=&quot;20148&quot; value=&quot;5&quot;/&gt;&lt;property id=&quot;20300&quot; value=&quot;Slide 7 - &amp;quot;Mobilität&amp;quot;&quot;/&gt;&lt;property id=&quot;20307&quot; value=&quot;799&quot;/&gt;&lt;/object&gt;&lt;object type=&quot;3&quot; unique_id=&quot;10011&quot;&gt;&lt;property id=&quot;20148&quot; value=&quot;5&quot;/&gt;&lt;property id=&quot;20300&quot; value=&quot;Slide 8 - &amp;quot;Modularität&amp;quot;&quot;/&gt;&lt;property id=&quot;20307&quot; value=&quot;801&quot;/&gt;&lt;/object&gt;&lt;object type=&quot;3&quot; unique_id=&quot;10012&quot;&gt;&lt;property id=&quot;20148&quot; value=&quot;5&quot;/&gt;&lt;property id=&quot;20300&quot; value=&quot;Slide 9 - &amp;quot;Modularität&amp;quot;&quot;/&gt;&lt;property id=&quot;20307&quot; value=&quot;803&quot;/&gt;&lt;/object&gt;&lt;object type=&quot;3&quot; unique_id=&quot;10013&quot;&gt;&lt;property id=&quot;20148&quot; value=&quot;5&quot;/&gt;&lt;property id=&quot;20300&quot; value=&quot;Slide 10 - &amp;quot;Navigierbar mit OrthoPilot® Elite Neues OP-Erlebnis.&amp;quot;&quot;/&gt;&lt;property id=&quot;20307&quot; value=&quot;350&quot;/&gt;&lt;/object&gt;&lt;object type=&quot;3&quot; unique_id=&quot;10014&quot;&gt;&lt;property id=&quot;20148&quot; value=&quot;5&quot;/&gt;&lt;property id=&quot;20300&quot; value=&quot;Slide 11 - &amp;quot;Vielen Dank !&amp;quot;&quot;/&gt;&lt;property id=&quot;20307&quot; value=&quot;806&quot;/&gt;&lt;/object&gt;&lt;object type=&quot;3&quot; unique_id=&quot;10015&quot;&gt;&lt;property id=&quot;20148&quot; value=&quot;5&quot;/&gt;&lt;property id=&quot;20300&quot; value=&quot;Slide 12&quot;/&gt;&lt;property id=&quot;20307&quot; value=&quot;1166&quot;/&gt;&lt;/object&gt;&lt;object type=&quot;3&quot; unique_id=&quot;10016&quot;&gt;&lt;property id=&quot;20148&quot; value=&quot;5&quot;/&gt;&lt;property id=&quot;20300&quot; value=&quot;Slide 13&quot;/&gt;&lt;property id=&quot;20307&quot; value=&quot;1167&quot;/&gt;&lt;/object&gt;&lt;object type=&quot;3&quot; unique_id=&quot;10017&quot;&gt;&lt;property id=&quot;20148&quot; value=&quot;5&quot;/&gt;&lt;property id=&quot;20300&quot; value=&quot;Slide 14 - &amp;quot;Datenschutz ist uns wichtig!&amp;quot;&quot;/&gt;&lt;property id=&quot;20307&quot; value=&quot;2147473738&quot;/&gt;&lt;/object&gt;&lt;object type=&quot;3&quot; unique_id=&quot;10018&quot;&gt;&lt;property id=&quot;20148&quot; value=&quot;5&quot;/&gt;&lt;property id=&quot;20300&quot; value=&quot;Slide 15 - &amp;quot;Literaturverzeichnis&amp;quot;&quot;/&gt;&lt;property id=&quot;20307&quot; value=&quot;796&quot;/&gt;&lt;/object&gt;&lt;object type=&quot;3&quot; unique_id=&quot;10019&quot;&gt;&lt;property id=&quot;20148&quot; value=&quot;5&quot;/&gt;&lt;property id=&quot;20300&quot; value=&quot;Slide 16 - &amp;quot;Impressum&amp;quot;&quot;/&gt;&lt;property id=&quot;20307&quot; value=&quot;387&quot;/&gt;&lt;/object&gt;&lt;/object&gt;&lt;/object&gt;&lt;/database&gt;"/>
  <p:tag name="SECTOMILLISECCONVERTED" val="1"/>
  <p:tag name="AUTHOR" val="Malte Wangerin"/>
  <p:tag name="FIRM" val="B. Braun Deutschland GmbH &amp; Co. KG"/>
  <p:tag name="TITLE" val="Aesculap EnduRo Revisionssystem"/>
  <p:tag name="DATE" val="2023-08-30"/>
  <p:tag name="PRESENTATIONMARKEDFORINTERNALUSE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"/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ECIALSLIDETYPE" val="ChapterBeginning"/>
  <p:tag name="SLIDETYPE" val="SlideTOC1Image"/>
  <p:tag name="SLIDECATEGORY" val="CategoryAgenda"/>
  <p:tag name="CHAPTERTITLE" val="Kapiteltite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ImageBoxRightD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RANSFEROPTION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PREVIEWTOP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ASERIESORDERISREVERSED" val="False"/>
  <p:tag name="DATASERIESORDERISREVERSEDLASTCHECKED" val="2021-10-21 08:16:1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AlternateClosingRemark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BoxGreen"/>
</p:tagLst>
</file>

<file path=ppt/theme/theme1.xml><?xml version="1.0" encoding="utf-8"?>
<a:theme xmlns:a="http://schemas.openxmlformats.org/drawingml/2006/main" name="B. Braun">
  <a:themeElements>
    <a:clrScheme name="B. Braun">
      <a:dk1>
        <a:srgbClr val="000000"/>
      </a:dk1>
      <a:lt1>
        <a:srgbClr val="FFFFFF"/>
      </a:lt1>
      <a:dk2>
        <a:srgbClr val="00A97A"/>
      </a:dk2>
      <a:lt2>
        <a:srgbClr val="333333"/>
      </a:lt2>
      <a:accent1>
        <a:srgbClr val="00A97A"/>
      </a:accent1>
      <a:accent2>
        <a:srgbClr val="00C696"/>
      </a:accent2>
      <a:accent3>
        <a:srgbClr val="00DFA9"/>
      </a:accent3>
      <a:accent4>
        <a:srgbClr val="97FFD8"/>
      </a:accent4>
      <a:accent5>
        <a:srgbClr val="035877"/>
      </a:accent5>
      <a:accent6>
        <a:srgbClr val="02708E"/>
      </a:accent6>
      <a:hlink>
        <a:srgbClr val="00A97A"/>
      </a:hlink>
      <a:folHlink>
        <a:srgbClr val="DFDBD3"/>
      </a:folHlink>
    </a:clrScheme>
    <a:fontScheme name="B. Brau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00B482"/>
        </a:solidFill>
        <a:ln w="25400" cap="flat" cmpd="sng" algn="ctr">
          <a:noFill/>
          <a:prstDash val="solid"/>
        </a:ln>
        <a:effectLst/>
        <a:extLst>
          <a:ext uri="{91240B29-F687-4F45-9708-019B960494DF}">
            <a14:hiddenLine xmlns:a14="http://schemas.microsoft.com/office/drawing/2010/main" w="25400" cap="flat" cmpd="sng" algn="ctr">
              <a:solidFill>
                <a:prstClr val="black"/>
              </a:solidFill>
              <a:prstDash val="solid"/>
            </a14:hiddenLine>
          </a:ext>
        </a:extLst>
      </a:spPr>
      <a:bodyPr rtlCol="0" anchor="ctr"/>
      <a:lstStyle>
        <a:defPPr algn="ctr">
          <a:defRPr sz="16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8bc468de-b4a5-4708-86ca-97111172f97c">VQW3RFETPCKA-1276454626-210997</_dlc_DocId>
    <_dlc_DocIdUrl xmlns="8bc468de-b4a5-4708-86ca-97111172f97c">
      <Url>https://bbraun.sharepoint.com/sites/bbraun_eis_qualifizierungenundveranstaltungsmanagement/_layouts/15/DocIdRedir.aspx?ID=VQW3RFETPCKA-1276454626-210997</Url>
      <Description>VQW3RFETPCKA-1276454626-210997</Description>
    </_dlc_DocIdUrl>
    <lcf76f155ced4ddcb4097134ff3c332f xmlns="5fab1ae4-c4d0-4af0-afc0-c6e27ffcf35b">
      <Terms xmlns="http://schemas.microsoft.com/office/infopath/2007/PartnerControls"/>
    </lcf76f155ced4ddcb4097134ff3c332f>
    <TaxCatchAll xmlns="8bc468de-b4a5-4708-86ca-97111172f97c" xsi:nil="true"/>
    <Canbeannotated xmlns="5fab1ae4-c4d0-4af0-afc0-c6e27ffcf35b">false</Canbeannotated>
    <Canbeshared xmlns="5fab1ae4-c4d0-4af0-afc0-c6e27ffcf35b">false</Canbeshared>
    <Publish xmlns="5fab1ae4-c4d0-4af0-afc0-c6e27ffcf35b">false</Publish>
    <Region xmlns="5fab1ae4-c4d0-4af0-afc0-c6e27ffcf35b">Germany</Region>
    <ReleaseDate xmlns="5fab1ae4-c4d0-4af0-afc0-c6e27ffcf35b" xsi:nil="true"/>
    <ExpirationDate xmlns="5fab1ae4-c4d0-4af0-afc0-c6e27ffcf35b" xsi:nil="true"/>
    <Canbedownloaded xmlns="5fab1ae4-c4d0-4af0-afc0-c6e27ffcf35b">false</Canbedownloaded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A1A36A15F641549B465B7B72C65AF18" ma:contentTypeVersion="28" ma:contentTypeDescription="Ein neues Dokument erstellen." ma:contentTypeScope="" ma:versionID="c14f59faeffc3b0758314510ad2ae2d3">
  <xsd:schema xmlns:xsd="http://www.w3.org/2001/XMLSchema" xmlns:xs="http://www.w3.org/2001/XMLSchema" xmlns:p="http://schemas.microsoft.com/office/2006/metadata/properties" xmlns:ns2="8bc468de-b4a5-4708-86ca-97111172f97c" xmlns:ns3="5fab1ae4-c4d0-4af0-afc0-c6e27ffcf35b" targetNamespace="http://schemas.microsoft.com/office/2006/metadata/properties" ma:root="true" ma:fieldsID="9184b1966d53978f9fe88be72cde1e04" ns2:_="" ns3:_="">
    <xsd:import namespace="8bc468de-b4a5-4708-86ca-97111172f97c"/>
    <xsd:import namespace="5fab1ae4-c4d0-4af0-afc0-c6e27ffcf35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Location" minOccurs="0"/>
                <xsd:element ref="ns2:SharedWithUsers" minOccurs="0"/>
                <xsd:element ref="ns2:SharedWithDetails" minOccurs="0"/>
                <xsd:element ref="ns3:MediaLengthInSeconds" minOccurs="0"/>
                <xsd:element ref="ns3:Region" minOccurs="0"/>
                <xsd:element ref="ns3:Publish" minOccurs="0"/>
                <xsd:element ref="ns3:Canbeshared" minOccurs="0"/>
                <xsd:element ref="ns3:Canbedownloaded" minOccurs="0"/>
                <xsd:element ref="ns3:Canbeannotated" minOccurs="0"/>
                <xsd:element ref="ns3:lcf76f155ced4ddcb4097134ff3c332f" minOccurs="0"/>
                <xsd:element ref="ns2:TaxCatchAll" minOccurs="0"/>
                <xsd:element ref="ns3:ExpirationDate" minOccurs="0"/>
                <xsd:element ref="ns3:ReleaseDate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c468de-b4a5-4708-86ca-97111172f97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2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31" nillable="true" ma:displayName="Taxonomy Catch All Column" ma:hidden="true" ma:list="{517b610d-2176-40e6-867f-1fed9cf11693}" ma:internalName="TaxCatchAll" ma:showField="CatchAllData" ma:web="8bc468de-b4a5-4708-86ca-97111172f9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ab1ae4-c4d0-4af0-afc0-c6e27ffcf3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Region" ma:index="24" nillable="true" ma:displayName="Region" ma:default="Germany" ma:format="Dropdown" ma:internalName="Region">
      <xsd:simpleType>
        <xsd:restriction base="dms:Choice">
          <xsd:enumeration value="Germany"/>
          <xsd:enumeration value="Global"/>
        </xsd:restriction>
      </xsd:simpleType>
    </xsd:element>
    <xsd:element name="Publish" ma:index="25" nillable="true" ma:displayName="Publish" ma:default="0" ma:format="Dropdown" ma:internalName="Publish">
      <xsd:simpleType>
        <xsd:restriction base="dms:Boolean"/>
      </xsd:simpleType>
    </xsd:element>
    <xsd:element name="Canbeshared" ma:index="26" nillable="true" ma:displayName="Can be shared" ma:default="0" ma:format="Dropdown" ma:internalName="Canbeshared">
      <xsd:simpleType>
        <xsd:restriction base="dms:Boolean"/>
      </xsd:simpleType>
    </xsd:element>
    <xsd:element name="Canbedownloaded" ma:index="27" nillable="true" ma:displayName="Can be downloaded" ma:default="0" ma:format="Dropdown" ma:internalName="Canbedownloaded">
      <xsd:simpleType>
        <xsd:restriction base="dms:Boolean"/>
      </xsd:simpleType>
    </xsd:element>
    <xsd:element name="Canbeannotated" ma:index="28" nillable="true" ma:displayName="Can be annotated" ma:default="0" ma:format="Dropdown" ma:internalName="Canbeannotated">
      <xsd:simpleType>
        <xsd:restriction base="dms:Boolean"/>
      </xsd:simpleType>
    </xsd:element>
    <xsd:element name="lcf76f155ced4ddcb4097134ff3c332f" ma:index="30" nillable="true" ma:taxonomy="true" ma:internalName="lcf76f155ced4ddcb4097134ff3c332f" ma:taxonomyFieldName="MediaServiceImageTags" ma:displayName="Bildmarkierungen" ma:readOnly="false" ma:fieldId="{5cf76f15-5ced-4ddc-b409-7134ff3c332f}" ma:taxonomyMulti="true" ma:sspId="b29d0967-da9b-4a39-b679-e3fd6923df6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ExpirationDate" ma:index="32" nillable="true" ma:displayName="Expiration Date" ma:format="DateOnly" ma:internalName="ExpirationDate">
      <xsd:simpleType>
        <xsd:restriction base="dms:DateTime"/>
      </xsd:simpleType>
    </xsd:element>
    <xsd:element name="ReleaseDate" ma:index="33" nillable="true" ma:displayName="Release Date" ma:format="DateOnly" ma:internalName="ReleaseDate">
      <xsd:simpleType>
        <xsd:restriction base="dms:DateTime"/>
      </xsd:simpleType>
    </xsd:element>
    <xsd:element name="MediaServiceObjectDetectorVersions" ma:index="3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CA630276-B4E4-40C2-AA67-DB1983856F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94C2AA-62AB-48DD-A07C-BDA3C655E824}">
  <ds:schemaRefs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purl.org/dc/dcmitype/"/>
    <ds:schemaRef ds:uri="8bc468de-b4a5-4708-86ca-97111172f97c"/>
    <ds:schemaRef ds:uri="5fab1ae4-c4d0-4af0-afc0-c6e27ffcf35b"/>
    <ds:schemaRef ds:uri="http://purl.org/dc/elements/1.1/"/>
    <ds:schemaRef ds:uri="http://www.w3.org/XML/1998/namespace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C8DA0FA0-09AC-4843-A7BE-D44AA72AA2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c468de-b4a5-4708-86ca-97111172f97c"/>
    <ds:schemaRef ds:uri="5fab1ae4-c4d0-4af0-afc0-c6e27ffcf35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DA94A4AD-66E9-47FA-9EB0-3C87E1F948C1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46</Words>
  <Application>Microsoft Office PowerPoint</Application>
  <PresentationFormat>Breitbild</PresentationFormat>
  <Paragraphs>139</Paragraphs>
  <Slides>16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1" baseType="lpstr">
      <vt:lpstr>Arial</vt:lpstr>
      <vt:lpstr>Calibri</vt:lpstr>
      <vt:lpstr>Wingdings</vt:lpstr>
      <vt:lpstr>B. Braun</vt:lpstr>
      <vt:lpstr>think-cell Folie</vt:lpstr>
      <vt:lpstr>Aesculap® Enduro Revisionssystem</vt:lpstr>
      <vt:lpstr>PowerPoint-Präsentation</vt:lpstr>
      <vt:lpstr>Langlebigkeit Hohe Kongruenz</vt:lpstr>
      <vt:lpstr>Langlebigkeit Geringer Abrieb</vt:lpstr>
      <vt:lpstr> AS Advanced Surface 7 Schichten schützen Sie</vt:lpstr>
      <vt:lpstr>Luxationssicherheit</vt:lpstr>
      <vt:lpstr>Mobilität</vt:lpstr>
      <vt:lpstr>Modularität</vt:lpstr>
      <vt:lpstr>Modularität</vt:lpstr>
      <vt:lpstr>Navigierbar mit OrthoPilot® Elite Neues OP-Erlebnis.</vt:lpstr>
      <vt:lpstr>Vielen Dank !</vt:lpstr>
      <vt:lpstr>PowerPoint-Präsentation</vt:lpstr>
      <vt:lpstr>PowerPoint-Präsentation</vt:lpstr>
      <vt:lpstr>Datenschutz ist uns wichtig!</vt:lpstr>
      <vt:lpstr>Literaturverzeichnis</vt:lpstr>
      <vt:lpstr>Impressum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Malte Wangerin</dc:creator>
  <dc:description/>
  <cp:lastModifiedBy>Eva Berneburg</cp:lastModifiedBy>
  <cp:revision>355</cp:revision>
  <cp:lastPrinted>2023-10-19T12:34:15Z</cp:lastPrinted>
  <dcterms:created xsi:type="dcterms:W3CDTF">2015-09-02T13:45:30Z</dcterms:created>
  <dcterms:modified xsi:type="dcterms:W3CDTF">2023-10-19T12:55:5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Template">
    <vt:lpwstr>3.0</vt:lpwstr>
  </property>
  <property fmtid="{D5CDD505-2E9C-101B-9397-08002B2CF9AE}" pid="3" name="Template">
    <vt:lpwstr>BBraun_Template_16x9.pptx</vt:lpwstr>
  </property>
  <property fmtid="{D5CDD505-2E9C-101B-9397-08002B2CF9AE}" pid="4" name="MSIP_Label_a8de25a8-ef47-40a7-b7ec-c38f3edc2acf_Enabled">
    <vt:lpwstr>true</vt:lpwstr>
  </property>
  <property fmtid="{D5CDD505-2E9C-101B-9397-08002B2CF9AE}" pid="5" name="MSIP_Label_a8de25a8-ef47-40a7-b7ec-c38f3edc2acf_SetDate">
    <vt:lpwstr>2023-08-30T13:41:44Z</vt:lpwstr>
  </property>
  <property fmtid="{D5CDD505-2E9C-101B-9397-08002B2CF9AE}" pid="6" name="MSIP_Label_a8de25a8-ef47-40a7-b7ec-c38f3edc2acf_Method">
    <vt:lpwstr>Standard</vt:lpwstr>
  </property>
  <property fmtid="{D5CDD505-2E9C-101B-9397-08002B2CF9AE}" pid="7" name="MSIP_Label_a8de25a8-ef47-40a7-b7ec-c38f3edc2acf_Name">
    <vt:lpwstr>a8de25a8-ef47-40a7-b7ec-c38f3edc2acf</vt:lpwstr>
  </property>
  <property fmtid="{D5CDD505-2E9C-101B-9397-08002B2CF9AE}" pid="8" name="MSIP_Label_a8de25a8-ef47-40a7-b7ec-c38f3edc2acf_SiteId">
    <vt:lpwstr>15d1bef2-0a6a-46f9-be4c-023279325e51</vt:lpwstr>
  </property>
  <property fmtid="{D5CDD505-2E9C-101B-9397-08002B2CF9AE}" pid="9" name="MSIP_Label_a8de25a8-ef47-40a7-b7ec-c38f3edc2acf_ActionId">
    <vt:lpwstr>bcdb8a7d-4601-4498-8054-32f96201dedd</vt:lpwstr>
  </property>
  <property fmtid="{D5CDD505-2E9C-101B-9397-08002B2CF9AE}" pid="10" name="MSIP_Label_a8de25a8-ef47-40a7-b7ec-c38f3edc2acf_ContentBits">
    <vt:lpwstr>0</vt:lpwstr>
  </property>
  <property fmtid="{D5CDD505-2E9C-101B-9397-08002B2CF9AE}" pid="11" name="ContentTypeId">
    <vt:lpwstr>0x0101000A1A36A15F641549B465B7B72C65AF18</vt:lpwstr>
  </property>
  <property fmtid="{D5CDD505-2E9C-101B-9397-08002B2CF9AE}" pid="12" name="_dlc_DocIdItemGuid">
    <vt:lpwstr>7fecd0b0-b3a1-488b-ad1c-42c45c928842</vt:lpwstr>
  </property>
  <property fmtid="{D5CDD505-2E9C-101B-9397-08002B2CF9AE}" pid="13" name="MediaServiceImageTags">
    <vt:lpwstr/>
  </property>
</Properties>
</file>